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tags/tag4.xml" ContentType="application/vnd.openxmlformats-officedocument.presentationml.tags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autoCompressPictures="0">
  <p:sldMasterIdLst>
    <p:sldMasterId id="2147483700" r:id="rId1"/>
  </p:sldMasterIdLst>
  <p:notesMasterIdLst>
    <p:notesMasterId r:id="rId40"/>
  </p:notesMasterIdLst>
  <p:sldIdLst>
    <p:sldId id="256" r:id="rId2"/>
    <p:sldId id="258" r:id="rId3"/>
    <p:sldId id="259" r:id="rId4"/>
    <p:sldId id="260" r:id="rId5"/>
    <p:sldId id="949" r:id="rId6"/>
    <p:sldId id="262" r:id="rId7"/>
    <p:sldId id="955" r:id="rId8"/>
    <p:sldId id="264" r:id="rId9"/>
    <p:sldId id="265" r:id="rId10"/>
    <p:sldId id="266" r:id="rId11"/>
    <p:sldId id="267" r:id="rId12"/>
    <p:sldId id="268" r:id="rId13"/>
    <p:sldId id="954" r:id="rId14"/>
    <p:sldId id="271" r:id="rId15"/>
    <p:sldId id="272" r:id="rId16"/>
    <p:sldId id="270" r:id="rId17"/>
    <p:sldId id="273" r:id="rId18"/>
    <p:sldId id="274" r:id="rId19"/>
    <p:sldId id="275" r:id="rId20"/>
    <p:sldId id="276" r:id="rId21"/>
    <p:sldId id="277" r:id="rId22"/>
    <p:sldId id="278" r:id="rId23"/>
    <p:sldId id="279" r:id="rId24"/>
    <p:sldId id="280" r:id="rId25"/>
    <p:sldId id="953" r:id="rId26"/>
    <p:sldId id="281" r:id="rId27"/>
    <p:sldId id="282" r:id="rId28"/>
    <p:sldId id="283" r:id="rId29"/>
    <p:sldId id="284" r:id="rId30"/>
    <p:sldId id="285" r:id="rId31"/>
    <p:sldId id="286" r:id="rId32"/>
    <p:sldId id="287" r:id="rId33"/>
    <p:sldId id="288" r:id="rId34"/>
    <p:sldId id="289" r:id="rId35"/>
    <p:sldId id="950" r:id="rId36"/>
    <p:sldId id="951" r:id="rId37"/>
    <p:sldId id="952" r:id="rId38"/>
    <p:sldId id="291" r:id="rId39"/>
  </p:sldIdLst>
  <p:sldSz cx="9144000" cy="5143500" type="screen16x9"/>
  <p:notesSz cx="6858000" cy="9144000"/>
  <p:embeddedFontLst>
    <p:embeddedFont>
      <p:font typeface="Crimson Text" pitchFamily="2" charset="0"/>
      <p:regular r:id="rId41"/>
      <p:bold r:id="rId42"/>
      <p:italic r:id="rId43"/>
      <p:boldItalic r:id="rId44"/>
    </p:embeddedFont>
    <p:embeddedFont>
      <p:font typeface="Josefin Sans" pitchFamily="2" charset="77"/>
      <p:regular r:id="rId45"/>
      <p:bold r:id="rId46"/>
    </p:embeddedFont>
    <p:embeddedFont>
      <p:font typeface="Lato" panose="020F0502020204030203" pitchFamily="34" charset="0"/>
      <p:regular r:id="rId47"/>
      <p:bold r:id="rId48"/>
      <p:italic r:id="rId49"/>
      <p:boldItalic r:id="rId50"/>
    </p:embeddedFont>
    <p:embeddedFont>
      <p:font typeface="Mako" pitchFamily="2" charset="77"/>
      <p:regular r:id="rId51"/>
    </p:embeddedFont>
    <p:embeddedFont>
      <p:font typeface="Merriweather Light" pitchFamily="2" charset="77"/>
      <p:regular r:id="rId52"/>
      <p:bold r:id="rId53"/>
      <p:italic r:id="rId54"/>
      <p:boldItalic r:id="rId55"/>
    </p:embeddedFont>
    <p:embeddedFont>
      <p:font typeface="Montserrat" pitchFamily="2" charset="77"/>
      <p:regular r:id="rId56"/>
      <p:bold r:id="rId57"/>
      <p:italic r:id="rId58"/>
      <p:boldItalic r:id="rId59"/>
    </p:embeddedFont>
    <p:embeddedFont>
      <p:font typeface="Open Sans" panose="020B0606030504020204" pitchFamily="34" charset="0"/>
      <p:regular r:id="rId60"/>
      <p:bold r:id="rId61"/>
      <p:italic r:id="rId62"/>
      <p:boldItalic r:id="rId63"/>
    </p:embeddedFont>
    <p:embeddedFont>
      <p:font typeface="Open Sans SemiBold" pitchFamily="2" charset="0"/>
      <p:regular r:id="rId64"/>
      <p:bold r:id="rId65"/>
      <p:italic r:id="rId66"/>
      <p:boldItalic r:id="rId67"/>
    </p:embeddedFont>
    <p:embeddedFont>
      <p:font typeface="Russo One" panose="02000503050000020004" pitchFamily="2" charset="0"/>
      <p:regular r:id="rId68"/>
    </p:embeddedFont>
    <p:embeddedFont>
      <p:font typeface="Vidaloka" panose="02000504000000020004" pitchFamily="2" charset="0"/>
      <p:regular r:id="rId69"/>
    </p:embeddedFont>
  </p:embeddedFontLst>
  <p:custDataLst>
    <p:tags r:id="rId70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5000"/>
    <p:restoredTop sz="94656"/>
  </p:normalViewPr>
  <p:slideViewPr>
    <p:cSldViewPr snapToGrid="0">
      <p:cViewPr varScale="1">
        <p:scale>
          <a:sx n="118" d="100"/>
          <a:sy n="118" d="100"/>
        </p:scale>
        <p:origin x="216" y="5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font" Target="fonts/font2.fntdata"/><Relationship Id="rId47" Type="http://schemas.openxmlformats.org/officeDocument/2006/relationships/font" Target="fonts/font7.fntdata"/><Relationship Id="rId63" Type="http://schemas.openxmlformats.org/officeDocument/2006/relationships/font" Target="fonts/font23.fntdata"/><Relationship Id="rId68" Type="http://schemas.openxmlformats.org/officeDocument/2006/relationships/font" Target="fonts/font28.fntdata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notesMaster" Target="notesMasters/notesMaster1.xml"/><Relationship Id="rId45" Type="http://schemas.openxmlformats.org/officeDocument/2006/relationships/font" Target="fonts/font5.fntdata"/><Relationship Id="rId53" Type="http://schemas.openxmlformats.org/officeDocument/2006/relationships/font" Target="fonts/font13.fntdata"/><Relationship Id="rId58" Type="http://schemas.openxmlformats.org/officeDocument/2006/relationships/font" Target="fonts/font18.fntdata"/><Relationship Id="rId66" Type="http://schemas.openxmlformats.org/officeDocument/2006/relationships/font" Target="fonts/font26.fntdata"/><Relationship Id="rId74" Type="http://schemas.openxmlformats.org/officeDocument/2006/relationships/tableStyles" Target="tableStyles.xml"/><Relationship Id="rId5" Type="http://schemas.openxmlformats.org/officeDocument/2006/relationships/slide" Target="slides/slide4.xml"/><Relationship Id="rId61" Type="http://schemas.openxmlformats.org/officeDocument/2006/relationships/font" Target="fonts/font21.fntdata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font" Target="fonts/font3.fntdata"/><Relationship Id="rId48" Type="http://schemas.openxmlformats.org/officeDocument/2006/relationships/font" Target="fonts/font8.fntdata"/><Relationship Id="rId56" Type="http://schemas.openxmlformats.org/officeDocument/2006/relationships/font" Target="fonts/font16.fntdata"/><Relationship Id="rId64" Type="http://schemas.openxmlformats.org/officeDocument/2006/relationships/font" Target="fonts/font24.fntdata"/><Relationship Id="rId69" Type="http://schemas.openxmlformats.org/officeDocument/2006/relationships/font" Target="fonts/font29.fntdata"/><Relationship Id="rId8" Type="http://schemas.openxmlformats.org/officeDocument/2006/relationships/slide" Target="slides/slide7.xml"/><Relationship Id="rId51" Type="http://schemas.openxmlformats.org/officeDocument/2006/relationships/font" Target="fonts/font11.fntdata"/><Relationship Id="rId72" Type="http://schemas.openxmlformats.org/officeDocument/2006/relationships/viewProps" Target="view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font" Target="fonts/font6.fntdata"/><Relationship Id="rId59" Type="http://schemas.openxmlformats.org/officeDocument/2006/relationships/font" Target="fonts/font19.fntdata"/><Relationship Id="rId67" Type="http://schemas.openxmlformats.org/officeDocument/2006/relationships/font" Target="fonts/font27.fntdata"/><Relationship Id="rId20" Type="http://schemas.openxmlformats.org/officeDocument/2006/relationships/slide" Target="slides/slide19.xml"/><Relationship Id="rId41" Type="http://schemas.openxmlformats.org/officeDocument/2006/relationships/font" Target="fonts/font1.fntdata"/><Relationship Id="rId54" Type="http://schemas.openxmlformats.org/officeDocument/2006/relationships/font" Target="fonts/font14.fntdata"/><Relationship Id="rId62" Type="http://schemas.openxmlformats.org/officeDocument/2006/relationships/font" Target="fonts/font22.fntdata"/><Relationship Id="rId7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font" Target="fonts/font9.fntdata"/><Relationship Id="rId57" Type="http://schemas.openxmlformats.org/officeDocument/2006/relationships/font" Target="fonts/font17.fntdata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font" Target="fonts/font4.fntdata"/><Relationship Id="rId52" Type="http://schemas.openxmlformats.org/officeDocument/2006/relationships/font" Target="fonts/font12.fntdata"/><Relationship Id="rId60" Type="http://schemas.openxmlformats.org/officeDocument/2006/relationships/font" Target="fonts/font20.fntdata"/><Relationship Id="rId65" Type="http://schemas.openxmlformats.org/officeDocument/2006/relationships/font" Target="fonts/font25.fntdata"/><Relationship Id="rId73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font" Target="fonts/font10.fntdata"/><Relationship Id="rId55" Type="http://schemas.openxmlformats.org/officeDocument/2006/relationships/font" Target="fonts/font15.fntdata"/><Relationship Id="rId7" Type="http://schemas.openxmlformats.org/officeDocument/2006/relationships/slide" Target="slides/slide6.xml"/><Relationship Id="rId71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9" name="Google Shape;469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70" name="Google Shape;470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4" name="Google Shape;554;g2a1c0a81174_1_4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55" name="Google Shape;555;g2a1c0a81174_1_4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0" name="Google Shape;560;g2a1c0a81174_1_32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61" name="Google Shape;561;g2a1c0a81174_1_32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5" name="Google Shape;565;g2a1c0a81174_1_13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66" name="Google Shape;566;g2a1c0a81174_1_13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2" name="Google Shape;582;g2a1c0a81174_1_16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83" name="Google Shape;583;g2a1c0a81174_1_16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8" name="Google Shape;588;g2a1c0a81174_1_16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89" name="Google Shape;589;g2a1c0a81174_1_16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6" name="Google Shape;576;g2a1c0a81174_1_15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77" name="Google Shape;577;g2a1c0a81174_1_15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" name="Google Shape;593;g2a1c0a81174_1_17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94" name="Google Shape;594;g2a1c0a81174_1_17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9" name="Google Shape;599;g2a1c0a81174_1_17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00" name="Google Shape;600;g2a1c0a81174_1_17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5" name="Google Shape;605;g2a1c0a81174_1_33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06" name="Google Shape;606;g2a1c0a81174_1_33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1" name="Google Shape;611;g2a1c0a81174_1_26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12" name="Google Shape;612;g2a1c0a81174_1_26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2" name="Google Shape;492;gcf7a3c503a_0_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93" name="Google Shape;493;gcf7a3c503a_0_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0" name="Google Shape;620;g2a1c0a81174_1_29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21" name="Google Shape;621;g2a1c0a81174_1_29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7" name="Google Shape;627;g2a1c0a81174_1_30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28" name="Google Shape;628;g2a1c0a81174_1_30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3" name="Google Shape;633;g2a1c0a81174_1_30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34" name="Google Shape;634;g2a1c0a81174_1_30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0" name="Google Shape;640;g2a1c0a81174_4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41" name="Google Shape;641;g2a1c0a81174_4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0" name="Google Shape;640;g2a1c0a81174_4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41" name="Google Shape;641;g2a1c0a81174_4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776707373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" name="Google Shape;646;g2a1c0a81174_1_34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47" name="Google Shape;647;g2a1c0a81174_1_34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1" name="Google Shape;651;g2a1c4c1d19f_0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2" name="Google Shape;652;g2a1c4c1d19f_0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0" i="0" dirty="0">
                <a:solidFill>
                  <a:srgbClr val="374151"/>
                </a:solidFill>
                <a:effectLst/>
                <a:latin typeface="Söhne"/>
              </a:rPr>
              <a:t>A node will be split if it would decrease the overall lack of fit by a factor of </a:t>
            </a:r>
            <a:r>
              <a:rPr lang="en-US" dirty="0"/>
              <a:t>cp</a:t>
            </a:r>
            <a:r>
              <a:rPr lang="en-US" b="0" i="0" dirty="0">
                <a:solidFill>
                  <a:srgbClr val="374151"/>
                </a:solidFill>
                <a:effectLst/>
                <a:latin typeface="Söhne"/>
              </a:rPr>
              <a:t>. A smaller value of </a:t>
            </a:r>
            <a:r>
              <a:rPr lang="en-US" dirty="0"/>
              <a:t>cp</a:t>
            </a:r>
            <a:r>
              <a:rPr lang="en-US" b="0" i="0" dirty="0">
                <a:solidFill>
                  <a:srgbClr val="374151"/>
                </a:solidFill>
                <a:effectLst/>
                <a:latin typeface="Söhne"/>
              </a:rPr>
              <a:t> allows for more complex trees, potentially capturing more detail from the data but also risking overfitting.</a:t>
            </a:r>
            <a:endParaRPr dirty="0"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9" name="Google Shape;659;g2a1c0a81174_4_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60" name="Google Shape;660;g2a1c0a81174_4_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8" name="Google Shape;668;g2a1c0a81174_4_4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69" name="Google Shape;669;g2a1c0a81174_4_4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" name="Google Shape;675;g2a1c0a81174_4_4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76" name="Google Shape;676;g2a1c0a81174_4_4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8" name="Google Shape;498;g2a1c0a81174_1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99" name="Google Shape;499;g2a1c0a81174_1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031148167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1" name="Google Shape;681;g2a1c0a81174_4_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82" name="Google Shape;682;g2a1c0a81174_4_1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8" name="Google Shape;688;g2a1c0a81174_4_5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89" name="Google Shape;689;g2a1c0a81174_4_5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4" name="Google Shape;694;g2a1c0a81174_4_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95" name="Google Shape;695;g2a1c0a81174_4_2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1" name="Google Shape;701;g2a1c0a81174_1_4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02" name="Google Shape;702;g2a1c0a81174_1_4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6472325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9" name="Google Shape;719;gcc7554a049_0_36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20" name="Google Shape;720;gcc7554a049_0_36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8" name="Google Shape;508;g2a1c0a81174_1_2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09" name="Google Shape;509;g2a1c0a81174_1_2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DF7CA7-E265-4D86-896A-5CA0CA39B9DD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223289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1" name="Google Shape;521;g2a1c0a81174_1_3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22" name="Google Shape;522;g2a1c0a81174_1_3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7" name="Google Shape;527;g2a1c0a81174_1_9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28" name="Google Shape;528;g2a1c0a81174_1_9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21631361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7" name="Google Shape;537;g2a1c0a81174_1_3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38" name="Google Shape;538;g2a1c0a81174_1_3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3" name="Google Shape;543;g2a1c0a81174_1_5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44" name="Google Shape;544;g2a1c0a81174_1_5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flaticon.com/" TargetMode="External"/><Relationship Id="rId2" Type="http://schemas.openxmlformats.org/officeDocument/2006/relationships/hyperlink" Target="https://slidesgo.com/" TargetMode="External"/><Relationship Id="rId1" Type="http://schemas.openxmlformats.org/officeDocument/2006/relationships/slideMaster" Target="../slideMasters/slideMaster1.xml"/><Relationship Id="rId4" Type="http://schemas.openxmlformats.org/officeDocument/2006/relationships/hyperlink" Target="https://www.freepik.com/" TargetMode="Externa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oogle Shape;9;p2"/>
          <p:cNvSpPr txBox="1">
            <a:spLocks noGrp="1"/>
          </p:cNvSpPr>
          <p:nvPr>
            <p:ph type="ctrTitle"/>
          </p:nvPr>
        </p:nvSpPr>
        <p:spPr>
          <a:xfrm>
            <a:off x="1039975" y="1324500"/>
            <a:ext cx="7064100" cy="2052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500"/>
            </a:lvl1pPr>
            <a:lvl2pPr lvl="1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endParaRPr/>
          </a:p>
        </p:txBody>
      </p:sp>
      <p:sp>
        <p:nvSpPr>
          <p:cNvPr id="10" name="Google Shape;10;p2"/>
          <p:cNvSpPr txBox="1">
            <a:spLocks noGrp="1"/>
          </p:cNvSpPr>
          <p:nvPr>
            <p:ph type="subTitle" idx="1"/>
          </p:nvPr>
        </p:nvSpPr>
        <p:spPr>
          <a:xfrm>
            <a:off x="1040000" y="3377100"/>
            <a:ext cx="7064100" cy="4419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16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  <p:cxnSp>
        <p:nvCxnSpPr>
          <p:cNvPr id="11" name="Google Shape;11;p2"/>
          <p:cNvCxnSpPr/>
          <p:nvPr/>
        </p:nvCxnSpPr>
        <p:spPr>
          <a:xfrm>
            <a:off x="-72550" y="27410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2" name="Google Shape;12;p2"/>
          <p:cNvCxnSpPr/>
          <p:nvPr/>
        </p:nvCxnSpPr>
        <p:spPr>
          <a:xfrm flipH="1">
            <a:off x="-257975" y="-72550"/>
            <a:ext cx="3047400" cy="1346400"/>
          </a:xfrm>
          <a:prstGeom prst="curvedConnector3">
            <a:avLst>
              <a:gd name="adj1" fmla="val 50000"/>
            </a:avLst>
          </a:prstGeom>
          <a:noFill/>
          <a:ln w="2857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3" name="Google Shape;13;p2"/>
          <p:cNvCxnSpPr/>
          <p:nvPr/>
        </p:nvCxnSpPr>
        <p:spPr>
          <a:xfrm>
            <a:off x="-72550" y="487745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4" name="Google Shape;14;p2"/>
          <p:cNvCxnSpPr/>
          <p:nvPr/>
        </p:nvCxnSpPr>
        <p:spPr>
          <a:xfrm flipH="1">
            <a:off x="6467450" y="3935375"/>
            <a:ext cx="3047400" cy="1346400"/>
          </a:xfrm>
          <a:prstGeom prst="curvedConnector3">
            <a:avLst>
              <a:gd name="adj1" fmla="val 50000"/>
            </a:avLst>
          </a:prstGeom>
          <a:noFill/>
          <a:ln w="2857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_NUMBER">
    <p:spTree>
      <p:nvGrpSpPr>
        <p:cNvPr id="1" name="Shape 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Google Shape;66;p11"/>
          <p:cNvSpPr txBox="1">
            <a:spLocks noGrp="1"/>
          </p:cNvSpPr>
          <p:nvPr>
            <p:ph type="title" hasCustomPrompt="1"/>
          </p:nvPr>
        </p:nvSpPr>
        <p:spPr>
          <a:xfrm>
            <a:off x="713225" y="1345363"/>
            <a:ext cx="7717500" cy="1644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>
                <a:solidFill>
                  <a:schemeClr val="accent1"/>
                </a:solidFill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t>xx%</a:t>
            </a:r>
          </a:p>
        </p:txBody>
      </p:sp>
      <p:sp>
        <p:nvSpPr>
          <p:cNvPr id="67" name="Google Shape;67;p11"/>
          <p:cNvSpPr txBox="1">
            <a:spLocks noGrp="1"/>
          </p:cNvSpPr>
          <p:nvPr>
            <p:ph type="subTitle" idx="1"/>
          </p:nvPr>
        </p:nvSpPr>
        <p:spPr>
          <a:xfrm>
            <a:off x="1514325" y="3188648"/>
            <a:ext cx="6120300" cy="375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1pPr>
            <a:lvl2pPr lvl="1" algn="ctr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2pPr>
            <a:lvl3pPr lvl="2" algn="ctr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3pPr>
            <a:lvl4pPr lvl="3" algn="ctr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6pPr>
            <a:lvl7pPr lvl="6" algn="ctr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7pPr>
            <a:lvl8pPr lvl="7" algn="ctr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8pPr>
            <a:lvl9pPr lvl="8" algn="ctr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9pPr>
          </a:lstStyle>
          <a:p>
            <a:endParaRPr/>
          </a:p>
        </p:txBody>
      </p:sp>
      <p:cxnSp>
        <p:nvCxnSpPr>
          <p:cNvPr id="68" name="Google Shape;68;p11"/>
          <p:cNvCxnSpPr/>
          <p:nvPr/>
        </p:nvCxnSpPr>
        <p:spPr>
          <a:xfrm>
            <a:off x="-72550" y="27410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69" name="Google Shape;69;p11"/>
          <p:cNvCxnSpPr/>
          <p:nvPr/>
        </p:nvCxnSpPr>
        <p:spPr>
          <a:xfrm>
            <a:off x="-72550" y="487745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70" name="Google Shape;70;p11"/>
          <p:cNvCxnSpPr/>
          <p:nvPr/>
        </p:nvCxnSpPr>
        <p:spPr>
          <a:xfrm>
            <a:off x="-250225" y="4076450"/>
            <a:ext cx="1926900" cy="1161000"/>
          </a:xfrm>
          <a:prstGeom prst="curvedConnector3">
            <a:avLst>
              <a:gd name="adj1" fmla="val 50000"/>
            </a:avLst>
          </a:prstGeom>
          <a:noFill/>
          <a:ln w="2857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71" name="Google Shape;71;p11"/>
          <p:cNvCxnSpPr/>
          <p:nvPr/>
        </p:nvCxnSpPr>
        <p:spPr>
          <a:xfrm>
            <a:off x="7441150" y="-48375"/>
            <a:ext cx="1926900" cy="1161000"/>
          </a:xfrm>
          <a:prstGeom prst="curvedConnector3">
            <a:avLst>
              <a:gd name="adj1" fmla="val 50000"/>
            </a:avLst>
          </a:prstGeom>
          <a:noFill/>
          <a:ln w="2857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bg>
      <p:bgPr>
        <a:noFill/>
        <a:effectLst/>
      </p:bgPr>
    </p:bg>
    <p:spTree>
      <p:nvGrpSpPr>
        <p:cNvPr id="1" name="Shape 72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able of contents">
  <p:cSld name="CUSTOM">
    <p:spTree>
      <p:nvGrpSpPr>
        <p:cNvPr id="1" name="Shape 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Google Shape;74;p13"/>
          <p:cNvSpPr txBox="1">
            <a:spLocks noGrp="1"/>
          </p:cNvSpPr>
          <p:nvPr>
            <p:ph type="title"/>
          </p:nvPr>
        </p:nvSpPr>
        <p:spPr>
          <a:xfrm>
            <a:off x="713225" y="445025"/>
            <a:ext cx="35838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9pPr>
          </a:lstStyle>
          <a:p>
            <a:endParaRPr/>
          </a:p>
        </p:txBody>
      </p:sp>
      <p:sp>
        <p:nvSpPr>
          <p:cNvPr id="75" name="Google Shape;75;p13"/>
          <p:cNvSpPr txBox="1">
            <a:spLocks noGrp="1"/>
          </p:cNvSpPr>
          <p:nvPr>
            <p:ph type="subTitle" idx="1"/>
          </p:nvPr>
        </p:nvSpPr>
        <p:spPr>
          <a:xfrm>
            <a:off x="5001000" y="1942925"/>
            <a:ext cx="2486100" cy="357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400">
                <a:latin typeface="Vidaloka"/>
                <a:ea typeface="Vidaloka"/>
                <a:cs typeface="Vidaloka"/>
                <a:sym typeface="Vidaloka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100"/>
              <a:buNone/>
              <a:defRPr sz="2100" b="1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100"/>
              <a:buNone/>
              <a:defRPr sz="2100" b="1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100"/>
              <a:buNone/>
              <a:defRPr sz="2100" b="1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100"/>
              <a:buNone/>
              <a:defRPr sz="2100" b="1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100"/>
              <a:buNone/>
              <a:defRPr sz="2100" b="1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100"/>
              <a:buNone/>
              <a:defRPr sz="2100" b="1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100"/>
              <a:buNone/>
              <a:defRPr sz="2100" b="1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100"/>
              <a:buNone/>
              <a:defRPr sz="2100" b="1"/>
            </a:lvl9pPr>
          </a:lstStyle>
          <a:p>
            <a:endParaRPr/>
          </a:p>
        </p:txBody>
      </p:sp>
      <p:sp>
        <p:nvSpPr>
          <p:cNvPr id="76" name="Google Shape;76;p13"/>
          <p:cNvSpPr txBox="1">
            <a:spLocks noGrp="1"/>
          </p:cNvSpPr>
          <p:nvPr>
            <p:ph type="subTitle" idx="2"/>
          </p:nvPr>
        </p:nvSpPr>
        <p:spPr>
          <a:xfrm>
            <a:off x="5001000" y="2255100"/>
            <a:ext cx="2486100" cy="618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dk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" name="Google Shape;77;p13"/>
          <p:cNvSpPr txBox="1">
            <a:spLocks noGrp="1"/>
          </p:cNvSpPr>
          <p:nvPr>
            <p:ph type="subTitle" idx="3"/>
          </p:nvPr>
        </p:nvSpPr>
        <p:spPr>
          <a:xfrm>
            <a:off x="1655200" y="1942925"/>
            <a:ext cx="2486100" cy="357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400">
                <a:latin typeface="Vidaloka"/>
                <a:ea typeface="Vidaloka"/>
                <a:cs typeface="Vidaloka"/>
                <a:sym typeface="Vidaloka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100"/>
              <a:buNone/>
              <a:defRPr sz="2100" b="1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100"/>
              <a:buNone/>
              <a:defRPr sz="2100" b="1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100"/>
              <a:buNone/>
              <a:defRPr sz="2100" b="1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100"/>
              <a:buNone/>
              <a:defRPr sz="2100" b="1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100"/>
              <a:buNone/>
              <a:defRPr sz="2100" b="1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100"/>
              <a:buNone/>
              <a:defRPr sz="2100" b="1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100"/>
              <a:buNone/>
              <a:defRPr sz="2100" b="1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100"/>
              <a:buNone/>
              <a:defRPr sz="2100" b="1"/>
            </a:lvl9pPr>
          </a:lstStyle>
          <a:p>
            <a:endParaRPr/>
          </a:p>
        </p:txBody>
      </p:sp>
      <p:sp>
        <p:nvSpPr>
          <p:cNvPr id="78" name="Google Shape;78;p13"/>
          <p:cNvSpPr txBox="1">
            <a:spLocks noGrp="1"/>
          </p:cNvSpPr>
          <p:nvPr>
            <p:ph type="subTitle" idx="4"/>
          </p:nvPr>
        </p:nvSpPr>
        <p:spPr>
          <a:xfrm>
            <a:off x="1655200" y="2255100"/>
            <a:ext cx="2486100" cy="618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9" name="Google Shape;79;p13"/>
          <p:cNvSpPr txBox="1">
            <a:spLocks noGrp="1"/>
          </p:cNvSpPr>
          <p:nvPr>
            <p:ph type="subTitle" idx="5"/>
          </p:nvPr>
        </p:nvSpPr>
        <p:spPr>
          <a:xfrm>
            <a:off x="5001000" y="3723950"/>
            <a:ext cx="2486100" cy="357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400">
                <a:latin typeface="Vidaloka"/>
                <a:ea typeface="Vidaloka"/>
                <a:cs typeface="Vidaloka"/>
                <a:sym typeface="Vidaloka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100"/>
              <a:buNone/>
              <a:defRPr sz="2100" b="1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100"/>
              <a:buNone/>
              <a:defRPr sz="2100" b="1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100"/>
              <a:buNone/>
              <a:defRPr sz="2100" b="1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100"/>
              <a:buNone/>
              <a:defRPr sz="2100" b="1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100"/>
              <a:buNone/>
              <a:defRPr sz="2100" b="1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100"/>
              <a:buNone/>
              <a:defRPr sz="2100" b="1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100"/>
              <a:buNone/>
              <a:defRPr sz="2100" b="1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100"/>
              <a:buNone/>
              <a:defRPr sz="2100" b="1"/>
            </a:lvl9pPr>
          </a:lstStyle>
          <a:p>
            <a:endParaRPr/>
          </a:p>
        </p:txBody>
      </p:sp>
      <p:sp>
        <p:nvSpPr>
          <p:cNvPr id="80" name="Google Shape;80;p13"/>
          <p:cNvSpPr txBox="1">
            <a:spLocks noGrp="1"/>
          </p:cNvSpPr>
          <p:nvPr>
            <p:ph type="subTitle" idx="6"/>
          </p:nvPr>
        </p:nvSpPr>
        <p:spPr>
          <a:xfrm>
            <a:off x="5001000" y="4036125"/>
            <a:ext cx="2486100" cy="618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dk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1" name="Google Shape;81;p13"/>
          <p:cNvSpPr txBox="1">
            <a:spLocks noGrp="1"/>
          </p:cNvSpPr>
          <p:nvPr>
            <p:ph type="subTitle" idx="7"/>
          </p:nvPr>
        </p:nvSpPr>
        <p:spPr>
          <a:xfrm>
            <a:off x="1655200" y="3723950"/>
            <a:ext cx="2486100" cy="357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400">
                <a:latin typeface="Vidaloka"/>
                <a:ea typeface="Vidaloka"/>
                <a:cs typeface="Vidaloka"/>
                <a:sym typeface="Vidaloka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100"/>
              <a:buNone/>
              <a:defRPr sz="2100" b="1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100"/>
              <a:buNone/>
              <a:defRPr sz="2100" b="1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100"/>
              <a:buNone/>
              <a:defRPr sz="2100" b="1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100"/>
              <a:buNone/>
              <a:defRPr sz="2100" b="1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100"/>
              <a:buNone/>
              <a:defRPr sz="2100" b="1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100"/>
              <a:buNone/>
              <a:defRPr sz="2100" b="1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100"/>
              <a:buNone/>
              <a:defRPr sz="2100" b="1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100"/>
              <a:buNone/>
              <a:defRPr sz="2100" b="1"/>
            </a:lvl9pPr>
          </a:lstStyle>
          <a:p>
            <a:endParaRPr/>
          </a:p>
        </p:txBody>
      </p:sp>
      <p:sp>
        <p:nvSpPr>
          <p:cNvPr id="82" name="Google Shape;82;p13"/>
          <p:cNvSpPr txBox="1">
            <a:spLocks noGrp="1"/>
          </p:cNvSpPr>
          <p:nvPr>
            <p:ph type="subTitle" idx="8"/>
          </p:nvPr>
        </p:nvSpPr>
        <p:spPr>
          <a:xfrm>
            <a:off x="1655250" y="4036125"/>
            <a:ext cx="2486100" cy="618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dk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3" name="Google Shape;83;p13"/>
          <p:cNvSpPr txBox="1">
            <a:spLocks noGrp="1"/>
          </p:cNvSpPr>
          <p:nvPr>
            <p:ph type="title" idx="9" hasCustomPrompt="1"/>
          </p:nvPr>
        </p:nvSpPr>
        <p:spPr>
          <a:xfrm>
            <a:off x="2378650" y="1303588"/>
            <a:ext cx="1039200" cy="6675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000"/>
              <a:buNone/>
              <a:defRPr sz="38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000"/>
              <a:buNone/>
              <a:defRPr sz="4000">
                <a:solidFill>
                  <a:schemeClr val="dk2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000"/>
              <a:buNone/>
              <a:defRPr sz="4000">
                <a:solidFill>
                  <a:schemeClr val="dk2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000"/>
              <a:buNone/>
              <a:defRPr sz="4000">
                <a:solidFill>
                  <a:schemeClr val="dk2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000"/>
              <a:buNone/>
              <a:defRPr sz="4000">
                <a:solidFill>
                  <a:schemeClr val="dk2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000"/>
              <a:buNone/>
              <a:defRPr sz="4000">
                <a:solidFill>
                  <a:schemeClr val="dk2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000"/>
              <a:buNone/>
              <a:defRPr sz="4000">
                <a:solidFill>
                  <a:schemeClr val="dk2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000"/>
              <a:buNone/>
              <a:defRPr sz="4000">
                <a:solidFill>
                  <a:schemeClr val="dk2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000"/>
              <a:buNone/>
              <a:defRPr sz="4000">
                <a:solidFill>
                  <a:schemeClr val="dk2"/>
                </a:solidFill>
              </a:defRPr>
            </a:lvl9pPr>
          </a:lstStyle>
          <a:p>
            <a:r>
              <a:t>xx%</a:t>
            </a:r>
          </a:p>
        </p:txBody>
      </p:sp>
      <p:sp>
        <p:nvSpPr>
          <p:cNvPr id="84" name="Google Shape;84;p13"/>
          <p:cNvSpPr txBox="1">
            <a:spLocks noGrp="1"/>
          </p:cNvSpPr>
          <p:nvPr>
            <p:ph type="title" idx="13" hasCustomPrompt="1"/>
          </p:nvPr>
        </p:nvSpPr>
        <p:spPr>
          <a:xfrm>
            <a:off x="5724450" y="1303588"/>
            <a:ext cx="1039200" cy="6675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000"/>
              <a:buNone/>
              <a:defRPr sz="38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000"/>
              <a:buNone/>
              <a:defRPr sz="4000">
                <a:solidFill>
                  <a:schemeClr val="dk2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000"/>
              <a:buNone/>
              <a:defRPr sz="4000">
                <a:solidFill>
                  <a:schemeClr val="dk2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000"/>
              <a:buNone/>
              <a:defRPr sz="4000">
                <a:solidFill>
                  <a:schemeClr val="dk2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000"/>
              <a:buNone/>
              <a:defRPr sz="4000">
                <a:solidFill>
                  <a:schemeClr val="dk2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000"/>
              <a:buNone/>
              <a:defRPr sz="4000">
                <a:solidFill>
                  <a:schemeClr val="dk2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000"/>
              <a:buNone/>
              <a:defRPr sz="4000">
                <a:solidFill>
                  <a:schemeClr val="dk2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000"/>
              <a:buNone/>
              <a:defRPr sz="4000">
                <a:solidFill>
                  <a:schemeClr val="dk2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000"/>
              <a:buNone/>
              <a:defRPr sz="4000">
                <a:solidFill>
                  <a:schemeClr val="dk2"/>
                </a:solidFill>
              </a:defRPr>
            </a:lvl9pPr>
          </a:lstStyle>
          <a:p>
            <a:r>
              <a:t>xx%</a:t>
            </a:r>
          </a:p>
        </p:txBody>
      </p:sp>
      <p:sp>
        <p:nvSpPr>
          <p:cNvPr id="85" name="Google Shape;85;p13"/>
          <p:cNvSpPr txBox="1">
            <a:spLocks noGrp="1"/>
          </p:cNvSpPr>
          <p:nvPr>
            <p:ph type="title" idx="14" hasCustomPrompt="1"/>
          </p:nvPr>
        </p:nvSpPr>
        <p:spPr>
          <a:xfrm>
            <a:off x="2378700" y="3082738"/>
            <a:ext cx="1039200" cy="6675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000"/>
              <a:buNone/>
              <a:defRPr sz="38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000"/>
              <a:buNone/>
              <a:defRPr sz="4000">
                <a:solidFill>
                  <a:schemeClr val="dk2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000"/>
              <a:buNone/>
              <a:defRPr sz="4000">
                <a:solidFill>
                  <a:schemeClr val="dk2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000"/>
              <a:buNone/>
              <a:defRPr sz="4000">
                <a:solidFill>
                  <a:schemeClr val="dk2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000"/>
              <a:buNone/>
              <a:defRPr sz="4000">
                <a:solidFill>
                  <a:schemeClr val="dk2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000"/>
              <a:buNone/>
              <a:defRPr sz="4000">
                <a:solidFill>
                  <a:schemeClr val="dk2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000"/>
              <a:buNone/>
              <a:defRPr sz="4000">
                <a:solidFill>
                  <a:schemeClr val="dk2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000"/>
              <a:buNone/>
              <a:defRPr sz="4000">
                <a:solidFill>
                  <a:schemeClr val="dk2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000"/>
              <a:buNone/>
              <a:defRPr sz="4000">
                <a:solidFill>
                  <a:schemeClr val="dk2"/>
                </a:solidFill>
              </a:defRPr>
            </a:lvl9pPr>
          </a:lstStyle>
          <a:p>
            <a:r>
              <a:t>xx%</a:t>
            </a:r>
          </a:p>
        </p:txBody>
      </p:sp>
      <p:sp>
        <p:nvSpPr>
          <p:cNvPr id="86" name="Google Shape;86;p13"/>
          <p:cNvSpPr txBox="1">
            <a:spLocks noGrp="1"/>
          </p:cNvSpPr>
          <p:nvPr>
            <p:ph type="title" idx="15" hasCustomPrompt="1"/>
          </p:nvPr>
        </p:nvSpPr>
        <p:spPr>
          <a:xfrm>
            <a:off x="5724450" y="3082738"/>
            <a:ext cx="1039200" cy="6675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000"/>
              <a:buNone/>
              <a:defRPr sz="38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000"/>
              <a:buNone/>
              <a:defRPr sz="4000">
                <a:solidFill>
                  <a:schemeClr val="dk2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000"/>
              <a:buNone/>
              <a:defRPr sz="4000">
                <a:solidFill>
                  <a:schemeClr val="dk2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000"/>
              <a:buNone/>
              <a:defRPr sz="4000">
                <a:solidFill>
                  <a:schemeClr val="dk2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000"/>
              <a:buNone/>
              <a:defRPr sz="4000">
                <a:solidFill>
                  <a:schemeClr val="dk2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000"/>
              <a:buNone/>
              <a:defRPr sz="4000">
                <a:solidFill>
                  <a:schemeClr val="dk2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000"/>
              <a:buNone/>
              <a:defRPr sz="4000">
                <a:solidFill>
                  <a:schemeClr val="dk2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000"/>
              <a:buNone/>
              <a:defRPr sz="4000">
                <a:solidFill>
                  <a:schemeClr val="dk2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000"/>
              <a:buNone/>
              <a:defRPr sz="4000">
                <a:solidFill>
                  <a:schemeClr val="dk2"/>
                </a:solidFill>
              </a:defRPr>
            </a:lvl9pPr>
          </a:lstStyle>
          <a:p>
            <a:r>
              <a:t>xx%</a:t>
            </a:r>
          </a:p>
        </p:txBody>
      </p:sp>
      <p:cxnSp>
        <p:nvCxnSpPr>
          <p:cNvPr id="87" name="Google Shape;87;p13"/>
          <p:cNvCxnSpPr/>
          <p:nvPr/>
        </p:nvCxnSpPr>
        <p:spPr>
          <a:xfrm>
            <a:off x="-72550" y="27410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88" name="Google Shape;88;p13"/>
          <p:cNvCxnSpPr/>
          <p:nvPr/>
        </p:nvCxnSpPr>
        <p:spPr>
          <a:xfrm>
            <a:off x="-72550" y="487745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">
  <p:cSld name="CUSTOM_2">
    <p:spTree>
      <p:nvGrpSpPr>
        <p:cNvPr id="1" name="Shape 1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Google Shape;114;p15"/>
          <p:cNvSpPr txBox="1">
            <a:spLocks noGrp="1"/>
          </p:cNvSpPr>
          <p:nvPr>
            <p:ph type="title"/>
          </p:nvPr>
        </p:nvSpPr>
        <p:spPr>
          <a:xfrm>
            <a:off x="2410500" y="2808253"/>
            <a:ext cx="4323000" cy="497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4800"/>
              <a:buFont typeface="Crimson Text"/>
              <a:buNone/>
              <a:defRPr sz="4800">
                <a:latin typeface="Crimson Text"/>
                <a:ea typeface="Crimson Text"/>
                <a:cs typeface="Crimson Text"/>
                <a:sym typeface="Crimson Text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4800"/>
              <a:buFont typeface="Crimson Text"/>
              <a:buNone/>
              <a:defRPr sz="4800">
                <a:latin typeface="Crimson Text"/>
                <a:ea typeface="Crimson Text"/>
                <a:cs typeface="Crimson Text"/>
                <a:sym typeface="Crimson Text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4800"/>
              <a:buFont typeface="Crimson Text"/>
              <a:buNone/>
              <a:defRPr sz="4800">
                <a:latin typeface="Crimson Text"/>
                <a:ea typeface="Crimson Text"/>
                <a:cs typeface="Crimson Text"/>
                <a:sym typeface="Crimson Text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4800"/>
              <a:buFont typeface="Crimson Text"/>
              <a:buNone/>
              <a:defRPr sz="4800">
                <a:latin typeface="Crimson Text"/>
                <a:ea typeface="Crimson Text"/>
                <a:cs typeface="Crimson Text"/>
                <a:sym typeface="Crimson Text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4800"/>
              <a:buFont typeface="Crimson Text"/>
              <a:buNone/>
              <a:defRPr sz="4800">
                <a:latin typeface="Crimson Text"/>
                <a:ea typeface="Crimson Text"/>
                <a:cs typeface="Crimson Text"/>
                <a:sym typeface="Crimson Text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4800"/>
              <a:buFont typeface="Crimson Text"/>
              <a:buNone/>
              <a:defRPr sz="4800">
                <a:latin typeface="Crimson Text"/>
                <a:ea typeface="Crimson Text"/>
                <a:cs typeface="Crimson Text"/>
                <a:sym typeface="Crimson Text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4800"/>
              <a:buFont typeface="Crimson Text"/>
              <a:buNone/>
              <a:defRPr sz="4800">
                <a:latin typeface="Crimson Text"/>
                <a:ea typeface="Crimson Text"/>
                <a:cs typeface="Crimson Text"/>
                <a:sym typeface="Crimson Text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4800"/>
              <a:buFont typeface="Crimson Text"/>
              <a:buNone/>
              <a:defRPr sz="4800">
                <a:latin typeface="Crimson Text"/>
                <a:ea typeface="Crimson Text"/>
                <a:cs typeface="Crimson Text"/>
                <a:sym typeface="Crimson Text"/>
              </a:defRPr>
            </a:lvl9pPr>
          </a:lstStyle>
          <a:p>
            <a:endParaRPr/>
          </a:p>
        </p:txBody>
      </p:sp>
      <p:sp>
        <p:nvSpPr>
          <p:cNvPr id="115" name="Google Shape;115;p15"/>
          <p:cNvSpPr txBox="1">
            <a:spLocks noGrp="1"/>
          </p:cNvSpPr>
          <p:nvPr>
            <p:ph type="subTitle" idx="1"/>
          </p:nvPr>
        </p:nvSpPr>
        <p:spPr>
          <a:xfrm>
            <a:off x="1842900" y="1661963"/>
            <a:ext cx="5458200" cy="997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20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116" name="Google Shape;116;p15"/>
          <p:cNvCxnSpPr/>
          <p:nvPr/>
        </p:nvCxnSpPr>
        <p:spPr>
          <a:xfrm>
            <a:off x="-72550" y="27410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17" name="Google Shape;117;p15"/>
          <p:cNvCxnSpPr/>
          <p:nvPr/>
        </p:nvCxnSpPr>
        <p:spPr>
          <a:xfrm>
            <a:off x="-72550" y="487745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1">
  <p:cSld name="CUSTOM_12">
    <p:spTree>
      <p:nvGrpSpPr>
        <p:cNvPr id="1" name="Shape 1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Google Shape;119;p16"/>
          <p:cNvSpPr txBox="1">
            <a:spLocks noGrp="1"/>
          </p:cNvSpPr>
          <p:nvPr>
            <p:ph type="title"/>
          </p:nvPr>
        </p:nvSpPr>
        <p:spPr>
          <a:xfrm>
            <a:off x="699900" y="2821263"/>
            <a:ext cx="4323000" cy="497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4800"/>
              <a:buFont typeface="Crimson Text"/>
              <a:buNone/>
              <a:defRPr sz="4800">
                <a:latin typeface="Crimson Text"/>
                <a:ea typeface="Crimson Text"/>
                <a:cs typeface="Crimson Text"/>
                <a:sym typeface="Crimson Text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4800"/>
              <a:buFont typeface="Crimson Text"/>
              <a:buNone/>
              <a:defRPr sz="4800">
                <a:latin typeface="Crimson Text"/>
                <a:ea typeface="Crimson Text"/>
                <a:cs typeface="Crimson Text"/>
                <a:sym typeface="Crimson Text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4800"/>
              <a:buFont typeface="Crimson Text"/>
              <a:buNone/>
              <a:defRPr sz="4800">
                <a:latin typeface="Crimson Text"/>
                <a:ea typeface="Crimson Text"/>
                <a:cs typeface="Crimson Text"/>
                <a:sym typeface="Crimson Text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4800"/>
              <a:buFont typeface="Crimson Text"/>
              <a:buNone/>
              <a:defRPr sz="4800">
                <a:latin typeface="Crimson Text"/>
                <a:ea typeface="Crimson Text"/>
                <a:cs typeface="Crimson Text"/>
                <a:sym typeface="Crimson Text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4800"/>
              <a:buFont typeface="Crimson Text"/>
              <a:buNone/>
              <a:defRPr sz="4800">
                <a:latin typeface="Crimson Text"/>
                <a:ea typeface="Crimson Text"/>
                <a:cs typeface="Crimson Text"/>
                <a:sym typeface="Crimson Text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4800"/>
              <a:buFont typeface="Crimson Text"/>
              <a:buNone/>
              <a:defRPr sz="4800">
                <a:latin typeface="Crimson Text"/>
                <a:ea typeface="Crimson Text"/>
                <a:cs typeface="Crimson Text"/>
                <a:sym typeface="Crimson Text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4800"/>
              <a:buFont typeface="Crimson Text"/>
              <a:buNone/>
              <a:defRPr sz="4800">
                <a:latin typeface="Crimson Text"/>
                <a:ea typeface="Crimson Text"/>
                <a:cs typeface="Crimson Text"/>
                <a:sym typeface="Crimson Text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4800"/>
              <a:buFont typeface="Crimson Text"/>
              <a:buNone/>
              <a:defRPr sz="4800">
                <a:latin typeface="Crimson Text"/>
                <a:ea typeface="Crimson Text"/>
                <a:cs typeface="Crimson Text"/>
                <a:sym typeface="Crimson Text"/>
              </a:defRPr>
            </a:lvl9pPr>
          </a:lstStyle>
          <a:p>
            <a:endParaRPr/>
          </a:p>
        </p:txBody>
      </p:sp>
      <p:sp>
        <p:nvSpPr>
          <p:cNvPr id="120" name="Google Shape;120;p16"/>
          <p:cNvSpPr txBox="1">
            <a:spLocks noGrp="1"/>
          </p:cNvSpPr>
          <p:nvPr>
            <p:ph type="subTitle" idx="1"/>
          </p:nvPr>
        </p:nvSpPr>
        <p:spPr>
          <a:xfrm>
            <a:off x="699900" y="1675902"/>
            <a:ext cx="5458200" cy="997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20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121" name="Google Shape;121;p16"/>
          <p:cNvCxnSpPr/>
          <p:nvPr/>
        </p:nvCxnSpPr>
        <p:spPr>
          <a:xfrm>
            <a:off x="-72550" y="27410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22" name="Google Shape;122;p16"/>
          <p:cNvCxnSpPr/>
          <p:nvPr/>
        </p:nvCxnSpPr>
        <p:spPr>
          <a:xfrm>
            <a:off x="-72550" y="487745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23" name="Google Shape;123;p16"/>
          <p:cNvCxnSpPr/>
          <p:nvPr/>
        </p:nvCxnSpPr>
        <p:spPr>
          <a:xfrm flipH="1">
            <a:off x="7454238" y="4053663"/>
            <a:ext cx="1926900" cy="1161000"/>
          </a:xfrm>
          <a:prstGeom prst="curvedConnector3">
            <a:avLst>
              <a:gd name="adj1" fmla="val 50000"/>
            </a:avLst>
          </a:prstGeom>
          <a:noFill/>
          <a:ln w="2857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24" name="Google Shape;124;p16"/>
          <p:cNvCxnSpPr/>
          <p:nvPr/>
        </p:nvCxnSpPr>
        <p:spPr>
          <a:xfrm flipH="1">
            <a:off x="-237137" y="-71162"/>
            <a:ext cx="1926900" cy="1161000"/>
          </a:xfrm>
          <a:prstGeom prst="curvedConnector3">
            <a:avLst>
              <a:gd name="adj1" fmla="val 50000"/>
            </a:avLst>
          </a:prstGeom>
          <a:noFill/>
          <a:ln w="2857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">
  <p:cSld name="CUSTOM_13">
    <p:spTree>
      <p:nvGrpSpPr>
        <p:cNvPr id="1" name="Shape 1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" name="Google Shape;126;p17"/>
          <p:cNvSpPr txBox="1">
            <a:spLocks noGrp="1"/>
          </p:cNvSpPr>
          <p:nvPr>
            <p:ph type="subTitle" idx="1"/>
          </p:nvPr>
        </p:nvSpPr>
        <p:spPr>
          <a:xfrm>
            <a:off x="2648400" y="1682000"/>
            <a:ext cx="3847200" cy="2379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Char char="●"/>
              <a:defRPr sz="14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Char char="○"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Char char="■"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Char char="●"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Char char="○"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Char char="■"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Char char="●"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Char char="○"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27" name="Google Shape;127;p17"/>
          <p:cNvSpPr txBox="1">
            <a:spLocks noGrp="1"/>
          </p:cNvSpPr>
          <p:nvPr>
            <p:ph type="title"/>
          </p:nvPr>
        </p:nvSpPr>
        <p:spPr>
          <a:xfrm>
            <a:off x="1732050" y="445025"/>
            <a:ext cx="56799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9pPr>
          </a:lstStyle>
          <a:p>
            <a:endParaRPr/>
          </a:p>
        </p:txBody>
      </p:sp>
      <p:cxnSp>
        <p:nvCxnSpPr>
          <p:cNvPr id="128" name="Google Shape;128;p17"/>
          <p:cNvCxnSpPr/>
          <p:nvPr/>
        </p:nvCxnSpPr>
        <p:spPr>
          <a:xfrm>
            <a:off x="-72550" y="27410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29" name="Google Shape;129;p17"/>
          <p:cNvCxnSpPr/>
          <p:nvPr/>
        </p:nvCxnSpPr>
        <p:spPr>
          <a:xfrm>
            <a:off x="-72550" y="487745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30" name="Google Shape;130;p17"/>
          <p:cNvCxnSpPr/>
          <p:nvPr/>
        </p:nvCxnSpPr>
        <p:spPr>
          <a:xfrm>
            <a:off x="-250225" y="4076450"/>
            <a:ext cx="1926900" cy="1161000"/>
          </a:xfrm>
          <a:prstGeom prst="curvedConnector3">
            <a:avLst>
              <a:gd name="adj1" fmla="val 50000"/>
            </a:avLst>
          </a:prstGeom>
          <a:noFill/>
          <a:ln w="2857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31" name="Google Shape;131;p17"/>
          <p:cNvCxnSpPr/>
          <p:nvPr/>
        </p:nvCxnSpPr>
        <p:spPr>
          <a:xfrm>
            <a:off x="7441150" y="-48375"/>
            <a:ext cx="1926900" cy="1161000"/>
          </a:xfrm>
          <a:prstGeom prst="curvedConnector3">
            <a:avLst>
              <a:gd name="adj1" fmla="val 50000"/>
            </a:avLst>
          </a:prstGeom>
          <a:noFill/>
          <a:ln w="2857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 1">
  <p:cSld name="CUSTOM_3">
    <p:spTree>
      <p:nvGrpSpPr>
        <p:cNvPr id="1" name="Shape 1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" name="Google Shape;133;p18"/>
          <p:cNvSpPr txBox="1">
            <a:spLocks noGrp="1"/>
          </p:cNvSpPr>
          <p:nvPr>
            <p:ph type="title"/>
          </p:nvPr>
        </p:nvSpPr>
        <p:spPr>
          <a:xfrm>
            <a:off x="1994850" y="1482825"/>
            <a:ext cx="5154300" cy="1291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9000"/>
              <a:buNone/>
              <a:defRPr sz="90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9000"/>
              <a:buNone/>
              <a:defRPr sz="90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9000"/>
              <a:buNone/>
              <a:defRPr sz="90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9000"/>
              <a:buNone/>
              <a:defRPr sz="90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9000"/>
              <a:buNone/>
              <a:defRPr sz="90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9000"/>
              <a:buNone/>
              <a:defRPr sz="90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9000"/>
              <a:buNone/>
              <a:defRPr sz="90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9000"/>
              <a:buNone/>
              <a:defRPr sz="90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9000"/>
              <a:buNone/>
              <a:defRPr sz="9000"/>
            </a:lvl9pPr>
          </a:lstStyle>
          <a:p>
            <a:endParaRPr/>
          </a:p>
        </p:txBody>
      </p:sp>
      <p:sp>
        <p:nvSpPr>
          <p:cNvPr id="134" name="Google Shape;134;p18"/>
          <p:cNvSpPr txBox="1">
            <a:spLocks noGrp="1"/>
          </p:cNvSpPr>
          <p:nvPr>
            <p:ph type="subTitle" idx="1"/>
          </p:nvPr>
        </p:nvSpPr>
        <p:spPr>
          <a:xfrm>
            <a:off x="2299500" y="2972150"/>
            <a:ext cx="4545000" cy="554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cxnSp>
        <p:nvCxnSpPr>
          <p:cNvPr id="135" name="Google Shape;135;p18"/>
          <p:cNvCxnSpPr/>
          <p:nvPr/>
        </p:nvCxnSpPr>
        <p:spPr>
          <a:xfrm>
            <a:off x="-72550" y="27410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36" name="Google Shape;136;p18"/>
          <p:cNvCxnSpPr/>
          <p:nvPr/>
        </p:nvCxnSpPr>
        <p:spPr>
          <a:xfrm>
            <a:off x="-72550" y="487745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 2">
  <p:cSld name="CUSTOM_14">
    <p:spTree>
      <p:nvGrpSpPr>
        <p:cNvPr id="1" name="Shape 1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" name="Google Shape;138;p19"/>
          <p:cNvSpPr txBox="1">
            <a:spLocks noGrp="1"/>
          </p:cNvSpPr>
          <p:nvPr>
            <p:ph type="title"/>
          </p:nvPr>
        </p:nvSpPr>
        <p:spPr>
          <a:xfrm>
            <a:off x="3742850" y="1549875"/>
            <a:ext cx="4545000" cy="1291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9000"/>
              <a:buNone/>
              <a:defRPr sz="9000"/>
            </a:lvl1pPr>
            <a:lvl2pPr lvl="1" rtl="0">
              <a:spcBef>
                <a:spcPts val="0"/>
              </a:spcBef>
              <a:spcAft>
                <a:spcPts val="0"/>
              </a:spcAft>
              <a:buSzPts val="9000"/>
              <a:buNone/>
              <a:defRPr sz="9000"/>
            </a:lvl2pPr>
            <a:lvl3pPr lvl="2" rtl="0">
              <a:spcBef>
                <a:spcPts val="0"/>
              </a:spcBef>
              <a:spcAft>
                <a:spcPts val="0"/>
              </a:spcAft>
              <a:buSzPts val="9000"/>
              <a:buNone/>
              <a:defRPr sz="9000"/>
            </a:lvl3pPr>
            <a:lvl4pPr lvl="3" rtl="0">
              <a:spcBef>
                <a:spcPts val="0"/>
              </a:spcBef>
              <a:spcAft>
                <a:spcPts val="0"/>
              </a:spcAft>
              <a:buSzPts val="9000"/>
              <a:buNone/>
              <a:defRPr sz="9000"/>
            </a:lvl4pPr>
            <a:lvl5pPr lvl="4" rtl="0">
              <a:spcBef>
                <a:spcPts val="0"/>
              </a:spcBef>
              <a:spcAft>
                <a:spcPts val="0"/>
              </a:spcAft>
              <a:buSzPts val="9000"/>
              <a:buNone/>
              <a:defRPr sz="9000"/>
            </a:lvl5pPr>
            <a:lvl6pPr lvl="5" rtl="0">
              <a:spcBef>
                <a:spcPts val="0"/>
              </a:spcBef>
              <a:spcAft>
                <a:spcPts val="0"/>
              </a:spcAft>
              <a:buSzPts val="9000"/>
              <a:buNone/>
              <a:defRPr sz="9000"/>
            </a:lvl6pPr>
            <a:lvl7pPr lvl="6" rtl="0">
              <a:spcBef>
                <a:spcPts val="0"/>
              </a:spcBef>
              <a:spcAft>
                <a:spcPts val="0"/>
              </a:spcAft>
              <a:buSzPts val="9000"/>
              <a:buNone/>
              <a:defRPr sz="9000"/>
            </a:lvl7pPr>
            <a:lvl8pPr lvl="7" rtl="0">
              <a:spcBef>
                <a:spcPts val="0"/>
              </a:spcBef>
              <a:spcAft>
                <a:spcPts val="0"/>
              </a:spcAft>
              <a:buSzPts val="9000"/>
              <a:buNone/>
              <a:defRPr sz="9000"/>
            </a:lvl8pPr>
            <a:lvl9pPr lvl="8" rtl="0">
              <a:spcBef>
                <a:spcPts val="0"/>
              </a:spcBef>
              <a:spcAft>
                <a:spcPts val="0"/>
              </a:spcAft>
              <a:buSzPts val="9000"/>
              <a:buNone/>
              <a:defRPr sz="9000"/>
            </a:lvl9pPr>
          </a:lstStyle>
          <a:p>
            <a:endParaRPr/>
          </a:p>
        </p:txBody>
      </p:sp>
      <p:sp>
        <p:nvSpPr>
          <p:cNvPr id="139" name="Google Shape;139;p19"/>
          <p:cNvSpPr txBox="1">
            <a:spLocks noGrp="1"/>
          </p:cNvSpPr>
          <p:nvPr>
            <p:ph type="subTitle" idx="1"/>
          </p:nvPr>
        </p:nvSpPr>
        <p:spPr>
          <a:xfrm>
            <a:off x="3742850" y="3039213"/>
            <a:ext cx="4545000" cy="554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400"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cxnSp>
        <p:nvCxnSpPr>
          <p:cNvPr id="140" name="Google Shape;140;p19"/>
          <p:cNvCxnSpPr/>
          <p:nvPr/>
        </p:nvCxnSpPr>
        <p:spPr>
          <a:xfrm>
            <a:off x="-72550" y="27410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41" name="Google Shape;141;p19"/>
          <p:cNvCxnSpPr/>
          <p:nvPr/>
        </p:nvCxnSpPr>
        <p:spPr>
          <a:xfrm>
            <a:off x="-72550" y="487745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42" name="Google Shape;142;p19"/>
          <p:cNvCxnSpPr/>
          <p:nvPr/>
        </p:nvCxnSpPr>
        <p:spPr>
          <a:xfrm>
            <a:off x="-250225" y="4076450"/>
            <a:ext cx="1926900" cy="1161000"/>
          </a:xfrm>
          <a:prstGeom prst="curvedConnector3">
            <a:avLst>
              <a:gd name="adj1" fmla="val 50000"/>
            </a:avLst>
          </a:prstGeom>
          <a:noFill/>
          <a:ln w="2857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43" name="Google Shape;143;p19"/>
          <p:cNvCxnSpPr/>
          <p:nvPr/>
        </p:nvCxnSpPr>
        <p:spPr>
          <a:xfrm>
            <a:off x="7441150" y="-48375"/>
            <a:ext cx="1926900" cy="1161000"/>
          </a:xfrm>
          <a:prstGeom prst="curvedConnector3">
            <a:avLst>
              <a:gd name="adj1" fmla="val 50000"/>
            </a:avLst>
          </a:prstGeom>
          <a:noFill/>
          <a:ln w="2857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44" name="Google Shape;144;p19"/>
          <p:cNvCxnSpPr/>
          <p:nvPr/>
        </p:nvCxnSpPr>
        <p:spPr>
          <a:xfrm flipH="1">
            <a:off x="7454238" y="4053663"/>
            <a:ext cx="1926900" cy="1161000"/>
          </a:xfrm>
          <a:prstGeom prst="curvedConnector3">
            <a:avLst>
              <a:gd name="adj1" fmla="val 50000"/>
            </a:avLst>
          </a:prstGeom>
          <a:noFill/>
          <a:ln w="2857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45" name="Google Shape;145;p19"/>
          <p:cNvCxnSpPr/>
          <p:nvPr/>
        </p:nvCxnSpPr>
        <p:spPr>
          <a:xfrm flipH="1">
            <a:off x="-237137" y="-71162"/>
            <a:ext cx="1926900" cy="1161000"/>
          </a:xfrm>
          <a:prstGeom prst="curvedConnector3">
            <a:avLst>
              <a:gd name="adj1" fmla="val 50000"/>
            </a:avLst>
          </a:prstGeom>
          <a:noFill/>
          <a:ln w="2857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 1">
  <p:cSld name="CUSTOM_15">
    <p:spTree>
      <p:nvGrpSpPr>
        <p:cNvPr id="1" name="Shape 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Google Shape;147;p20"/>
          <p:cNvSpPr txBox="1">
            <a:spLocks noGrp="1"/>
          </p:cNvSpPr>
          <p:nvPr>
            <p:ph type="title"/>
          </p:nvPr>
        </p:nvSpPr>
        <p:spPr>
          <a:xfrm>
            <a:off x="1677925" y="2511803"/>
            <a:ext cx="3714900" cy="805800"/>
          </a:xfrm>
          <a:prstGeom prst="rect">
            <a:avLst/>
          </a:prstGeom>
          <a:noFill/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600"/>
              <a:buNone/>
              <a:defRPr sz="50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9pPr>
          </a:lstStyle>
          <a:p>
            <a:endParaRPr/>
          </a:p>
        </p:txBody>
      </p:sp>
      <p:sp>
        <p:nvSpPr>
          <p:cNvPr id="148" name="Google Shape;148;p20"/>
          <p:cNvSpPr txBox="1">
            <a:spLocks noGrp="1"/>
          </p:cNvSpPr>
          <p:nvPr>
            <p:ph type="title" idx="2" hasCustomPrompt="1"/>
          </p:nvPr>
        </p:nvSpPr>
        <p:spPr>
          <a:xfrm>
            <a:off x="3741925" y="1484693"/>
            <a:ext cx="1650900" cy="978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6000"/>
              <a:buNone/>
              <a:defRPr sz="70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 b="1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 b="1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 b="1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 b="1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 b="1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 b="1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 b="1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 b="1"/>
            </a:lvl9pPr>
          </a:lstStyle>
          <a:p>
            <a:r>
              <a:t>xx%</a:t>
            </a:r>
          </a:p>
        </p:txBody>
      </p:sp>
      <p:sp>
        <p:nvSpPr>
          <p:cNvPr id="149" name="Google Shape;149;p20"/>
          <p:cNvSpPr txBox="1">
            <a:spLocks noGrp="1"/>
          </p:cNvSpPr>
          <p:nvPr>
            <p:ph type="subTitle" idx="1"/>
          </p:nvPr>
        </p:nvSpPr>
        <p:spPr>
          <a:xfrm>
            <a:off x="831625" y="3244000"/>
            <a:ext cx="4561200" cy="393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400">
                <a:solidFill>
                  <a:schemeClr val="dk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150" name="Google Shape;150;p20"/>
          <p:cNvCxnSpPr/>
          <p:nvPr/>
        </p:nvCxnSpPr>
        <p:spPr>
          <a:xfrm rot="10800000">
            <a:off x="-300" y="27410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51" name="Google Shape;151;p20"/>
          <p:cNvCxnSpPr/>
          <p:nvPr/>
        </p:nvCxnSpPr>
        <p:spPr>
          <a:xfrm rot="10800000">
            <a:off x="-300" y="487745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52" name="Google Shape;152;p20"/>
          <p:cNvCxnSpPr/>
          <p:nvPr/>
        </p:nvCxnSpPr>
        <p:spPr>
          <a:xfrm>
            <a:off x="-112875" y="3979775"/>
            <a:ext cx="1378500" cy="1236300"/>
          </a:xfrm>
          <a:prstGeom prst="curvedConnector3">
            <a:avLst>
              <a:gd name="adj1" fmla="val 50000"/>
            </a:avLst>
          </a:prstGeom>
          <a:noFill/>
          <a:ln w="2857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53" name="Google Shape;153;p20"/>
          <p:cNvCxnSpPr/>
          <p:nvPr/>
        </p:nvCxnSpPr>
        <p:spPr>
          <a:xfrm>
            <a:off x="7908725" y="-88700"/>
            <a:ext cx="1418700" cy="1064400"/>
          </a:xfrm>
          <a:prstGeom prst="curvedConnector3">
            <a:avLst>
              <a:gd name="adj1" fmla="val 50000"/>
            </a:avLst>
          </a:prstGeom>
          <a:noFill/>
          <a:ln w="2857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_ONLY_1">
    <p:spTree>
      <p:nvGrpSpPr>
        <p:cNvPr id="1" name="Shape 1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" name="Google Shape;155;p21"/>
          <p:cNvSpPr txBox="1">
            <a:spLocks noGrp="1"/>
          </p:cNvSpPr>
          <p:nvPr>
            <p:ph type="title"/>
          </p:nvPr>
        </p:nvSpPr>
        <p:spPr>
          <a:xfrm>
            <a:off x="713225" y="445025"/>
            <a:ext cx="77175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9pPr>
          </a:lstStyle>
          <a:p>
            <a:endParaRPr/>
          </a:p>
        </p:txBody>
      </p:sp>
      <p:cxnSp>
        <p:nvCxnSpPr>
          <p:cNvPr id="156" name="Google Shape;156;p21"/>
          <p:cNvCxnSpPr/>
          <p:nvPr/>
        </p:nvCxnSpPr>
        <p:spPr>
          <a:xfrm>
            <a:off x="-72550" y="27410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57" name="Google Shape;157;p21"/>
          <p:cNvCxnSpPr/>
          <p:nvPr/>
        </p:nvCxnSpPr>
        <p:spPr>
          <a:xfrm>
            <a:off x="-72550" y="487745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58" name="Google Shape;158;p21"/>
          <p:cNvCxnSpPr/>
          <p:nvPr/>
        </p:nvCxnSpPr>
        <p:spPr>
          <a:xfrm>
            <a:off x="7207350" y="-153175"/>
            <a:ext cx="2120400" cy="1273800"/>
          </a:xfrm>
          <a:prstGeom prst="curvedConnector3">
            <a:avLst>
              <a:gd name="adj1" fmla="val 50000"/>
            </a:avLst>
          </a:prstGeom>
          <a:noFill/>
          <a:ln w="2857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3"/>
          <p:cNvSpPr txBox="1">
            <a:spLocks noGrp="1"/>
          </p:cNvSpPr>
          <p:nvPr>
            <p:ph type="title"/>
          </p:nvPr>
        </p:nvSpPr>
        <p:spPr>
          <a:xfrm>
            <a:off x="2714550" y="2366272"/>
            <a:ext cx="3714900" cy="818400"/>
          </a:xfrm>
          <a:prstGeom prst="rect">
            <a:avLst/>
          </a:prstGeom>
          <a:noFill/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600"/>
              <a:buNone/>
              <a:defRPr sz="50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9pPr>
          </a:lstStyle>
          <a:p>
            <a:endParaRPr/>
          </a:p>
        </p:txBody>
      </p:sp>
      <p:sp>
        <p:nvSpPr>
          <p:cNvPr id="17" name="Google Shape;17;p3"/>
          <p:cNvSpPr txBox="1">
            <a:spLocks noGrp="1"/>
          </p:cNvSpPr>
          <p:nvPr>
            <p:ph type="title" idx="2" hasCustomPrompt="1"/>
          </p:nvPr>
        </p:nvSpPr>
        <p:spPr>
          <a:xfrm>
            <a:off x="3746550" y="1339163"/>
            <a:ext cx="1650900" cy="978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6000"/>
              <a:buNone/>
              <a:defRPr sz="70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 b="1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 b="1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 b="1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 b="1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 b="1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 b="1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 b="1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 b="1"/>
            </a:lvl9pPr>
          </a:lstStyle>
          <a:p>
            <a:r>
              <a:t>xx%</a:t>
            </a:r>
          </a:p>
        </p:txBody>
      </p:sp>
      <p:sp>
        <p:nvSpPr>
          <p:cNvPr id="18" name="Google Shape;18;p3"/>
          <p:cNvSpPr txBox="1">
            <a:spLocks noGrp="1"/>
          </p:cNvSpPr>
          <p:nvPr>
            <p:ph type="subTitle" idx="1"/>
          </p:nvPr>
        </p:nvSpPr>
        <p:spPr>
          <a:xfrm>
            <a:off x="2291400" y="3076675"/>
            <a:ext cx="4561200" cy="393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4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19" name="Google Shape;19;p3"/>
          <p:cNvCxnSpPr/>
          <p:nvPr/>
        </p:nvCxnSpPr>
        <p:spPr>
          <a:xfrm>
            <a:off x="-72550" y="27410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20" name="Google Shape;20;p3"/>
          <p:cNvCxnSpPr/>
          <p:nvPr/>
        </p:nvCxnSpPr>
        <p:spPr>
          <a:xfrm>
            <a:off x="-72550" y="487745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21" name="Google Shape;21;p3"/>
          <p:cNvCxnSpPr/>
          <p:nvPr/>
        </p:nvCxnSpPr>
        <p:spPr>
          <a:xfrm flipH="1">
            <a:off x="7948925" y="3979775"/>
            <a:ext cx="1378500" cy="1236300"/>
          </a:xfrm>
          <a:prstGeom prst="curvedConnector3">
            <a:avLst>
              <a:gd name="adj1" fmla="val 50000"/>
            </a:avLst>
          </a:prstGeom>
          <a:noFill/>
          <a:ln w="2857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22" name="Google Shape;22;p3"/>
          <p:cNvCxnSpPr/>
          <p:nvPr/>
        </p:nvCxnSpPr>
        <p:spPr>
          <a:xfrm flipH="1">
            <a:off x="-112875" y="-88700"/>
            <a:ext cx="1418700" cy="1064400"/>
          </a:xfrm>
          <a:prstGeom prst="curvedConnector3">
            <a:avLst>
              <a:gd name="adj1" fmla="val 50000"/>
            </a:avLst>
          </a:prstGeom>
          <a:noFill/>
          <a:ln w="2857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1">
  <p:cSld name="CUSTOM_16">
    <p:spTree>
      <p:nvGrpSpPr>
        <p:cNvPr id="1" name="Shape 1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0" name="Google Shape;160;p22"/>
          <p:cNvCxnSpPr/>
          <p:nvPr/>
        </p:nvCxnSpPr>
        <p:spPr>
          <a:xfrm>
            <a:off x="-72550" y="27410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61" name="Google Shape;161;p22"/>
          <p:cNvCxnSpPr/>
          <p:nvPr/>
        </p:nvCxnSpPr>
        <p:spPr>
          <a:xfrm>
            <a:off x="-72550" y="487745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62" name="Google Shape;162;p22"/>
          <p:cNvCxnSpPr/>
          <p:nvPr/>
        </p:nvCxnSpPr>
        <p:spPr>
          <a:xfrm>
            <a:off x="-250225" y="4076450"/>
            <a:ext cx="1926900" cy="1161000"/>
          </a:xfrm>
          <a:prstGeom prst="curvedConnector3">
            <a:avLst>
              <a:gd name="adj1" fmla="val 50000"/>
            </a:avLst>
          </a:prstGeom>
          <a:noFill/>
          <a:ln w="2857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63" name="Google Shape;163;p22"/>
          <p:cNvCxnSpPr/>
          <p:nvPr/>
        </p:nvCxnSpPr>
        <p:spPr>
          <a:xfrm>
            <a:off x="7441150" y="-48375"/>
            <a:ext cx="1926900" cy="1161000"/>
          </a:xfrm>
          <a:prstGeom prst="curvedConnector3">
            <a:avLst>
              <a:gd name="adj1" fmla="val 50000"/>
            </a:avLst>
          </a:prstGeom>
          <a:noFill/>
          <a:ln w="2857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64" name="Google Shape;164;p22"/>
          <p:cNvCxnSpPr/>
          <p:nvPr/>
        </p:nvCxnSpPr>
        <p:spPr>
          <a:xfrm flipH="1">
            <a:off x="7454238" y="4053663"/>
            <a:ext cx="1926900" cy="1161000"/>
          </a:xfrm>
          <a:prstGeom prst="curvedConnector3">
            <a:avLst>
              <a:gd name="adj1" fmla="val 50000"/>
            </a:avLst>
          </a:prstGeom>
          <a:noFill/>
          <a:ln w="2857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65" name="Google Shape;165;p22"/>
          <p:cNvCxnSpPr/>
          <p:nvPr/>
        </p:nvCxnSpPr>
        <p:spPr>
          <a:xfrm flipH="1">
            <a:off x="-237137" y="-71162"/>
            <a:ext cx="1926900" cy="1161000"/>
          </a:xfrm>
          <a:prstGeom prst="curvedConnector3">
            <a:avLst>
              <a:gd name="adj1" fmla="val 50000"/>
            </a:avLst>
          </a:prstGeom>
          <a:noFill/>
          <a:ln w="2857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66" name="Google Shape;166;p22"/>
          <p:cNvSpPr txBox="1">
            <a:spLocks noGrp="1"/>
          </p:cNvSpPr>
          <p:nvPr>
            <p:ph type="title"/>
          </p:nvPr>
        </p:nvSpPr>
        <p:spPr>
          <a:xfrm>
            <a:off x="713225" y="445025"/>
            <a:ext cx="77175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four columns">
  <p:cSld name="CUSTOM_17">
    <p:spTree>
      <p:nvGrpSpPr>
        <p:cNvPr id="1" name="Shape 1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" name="Google Shape;168;p23"/>
          <p:cNvSpPr txBox="1">
            <a:spLocks noGrp="1"/>
          </p:cNvSpPr>
          <p:nvPr>
            <p:ph type="title"/>
          </p:nvPr>
        </p:nvSpPr>
        <p:spPr>
          <a:xfrm>
            <a:off x="1877475" y="445025"/>
            <a:ext cx="53892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9pPr>
          </a:lstStyle>
          <a:p>
            <a:endParaRPr/>
          </a:p>
        </p:txBody>
      </p:sp>
      <p:sp>
        <p:nvSpPr>
          <p:cNvPr id="169" name="Google Shape;169;p23"/>
          <p:cNvSpPr txBox="1">
            <a:spLocks noGrp="1"/>
          </p:cNvSpPr>
          <p:nvPr>
            <p:ph type="subTitle" idx="1"/>
          </p:nvPr>
        </p:nvSpPr>
        <p:spPr>
          <a:xfrm>
            <a:off x="3226708" y="1405390"/>
            <a:ext cx="2486100" cy="401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400">
                <a:latin typeface="Vidaloka"/>
                <a:ea typeface="Vidaloka"/>
                <a:cs typeface="Vidaloka"/>
                <a:sym typeface="Vidaloka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100"/>
              <a:buNone/>
              <a:defRPr sz="2100" b="1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100"/>
              <a:buNone/>
              <a:defRPr sz="2100" b="1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100"/>
              <a:buNone/>
              <a:defRPr sz="2100" b="1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100"/>
              <a:buNone/>
              <a:defRPr sz="2100" b="1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100"/>
              <a:buNone/>
              <a:defRPr sz="2100" b="1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100"/>
              <a:buNone/>
              <a:defRPr sz="2100" b="1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100"/>
              <a:buNone/>
              <a:defRPr sz="2100" b="1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100"/>
              <a:buNone/>
              <a:defRPr sz="2100" b="1"/>
            </a:lvl9pPr>
          </a:lstStyle>
          <a:p>
            <a:endParaRPr/>
          </a:p>
        </p:txBody>
      </p:sp>
      <p:sp>
        <p:nvSpPr>
          <p:cNvPr id="170" name="Google Shape;170;p23"/>
          <p:cNvSpPr txBox="1">
            <a:spLocks noGrp="1"/>
          </p:cNvSpPr>
          <p:nvPr>
            <p:ph type="subTitle" idx="2"/>
          </p:nvPr>
        </p:nvSpPr>
        <p:spPr>
          <a:xfrm>
            <a:off x="3226708" y="1806417"/>
            <a:ext cx="2486100" cy="618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dk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1" name="Google Shape;171;p23"/>
          <p:cNvSpPr txBox="1">
            <a:spLocks noGrp="1"/>
          </p:cNvSpPr>
          <p:nvPr>
            <p:ph type="subTitle" idx="3"/>
          </p:nvPr>
        </p:nvSpPr>
        <p:spPr>
          <a:xfrm>
            <a:off x="719108" y="1405390"/>
            <a:ext cx="2486100" cy="401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400">
                <a:latin typeface="Vidaloka"/>
                <a:ea typeface="Vidaloka"/>
                <a:cs typeface="Vidaloka"/>
                <a:sym typeface="Vidaloka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100"/>
              <a:buNone/>
              <a:defRPr sz="2100" b="1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100"/>
              <a:buNone/>
              <a:defRPr sz="2100" b="1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100"/>
              <a:buNone/>
              <a:defRPr sz="2100" b="1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100"/>
              <a:buNone/>
              <a:defRPr sz="2100" b="1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100"/>
              <a:buNone/>
              <a:defRPr sz="2100" b="1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100"/>
              <a:buNone/>
              <a:defRPr sz="2100" b="1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100"/>
              <a:buNone/>
              <a:defRPr sz="2100" b="1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100"/>
              <a:buNone/>
              <a:defRPr sz="2100" b="1"/>
            </a:lvl9pPr>
          </a:lstStyle>
          <a:p>
            <a:endParaRPr/>
          </a:p>
        </p:txBody>
      </p:sp>
      <p:sp>
        <p:nvSpPr>
          <p:cNvPr id="172" name="Google Shape;172;p23"/>
          <p:cNvSpPr txBox="1">
            <a:spLocks noGrp="1"/>
          </p:cNvSpPr>
          <p:nvPr>
            <p:ph type="subTitle" idx="4"/>
          </p:nvPr>
        </p:nvSpPr>
        <p:spPr>
          <a:xfrm>
            <a:off x="719108" y="1806417"/>
            <a:ext cx="2486100" cy="618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dk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3" name="Google Shape;173;p23"/>
          <p:cNvSpPr txBox="1">
            <a:spLocks noGrp="1"/>
          </p:cNvSpPr>
          <p:nvPr>
            <p:ph type="subTitle" idx="5"/>
          </p:nvPr>
        </p:nvSpPr>
        <p:spPr>
          <a:xfrm>
            <a:off x="3226708" y="3171118"/>
            <a:ext cx="2486100" cy="461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400">
                <a:latin typeface="Vidaloka"/>
                <a:ea typeface="Vidaloka"/>
                <a:cs typeface="Vidaloka"/>
                <a:sym typeface="Vidaloka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100"/>
              <a:buNone/>
              <a:defRPr sz="2100" b="1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100"/>
              <a:buNone/>
              <a:defRPr sz="2100" b="1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100"/>
              <a:buNone/>
              <a:defRPr sz="2100" b="1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100"/>
              <a:buNone/>
              <a:defRPr sz="2100" b="1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100"/>
              <a:buNone/>
              <a:defRPr sz="2100" b="1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100"/>
              <a:buNone/>
              <a:defRPr sz="2100" b="1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100"/>
              <a:buNone/>
              <a:defRPr sz="2100" b="1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100"/>
              <a:buNone/>
              <a:defRPr sz="2100" b="1"/>
            </a:lvl9pPr>
          </a:lstStyle>
          <a:p>
            <a:endParaRPr/>
          </a:p>
        </p:txBody>
      </p:sp>
      <p:sp>
        <p:nvSpPr>
          <p:cNvPr id="174" name="Google Shape;174;p23"/>
          <p:cNvSpPr txBox="1">
            <a:spLocks noGrp="1"/>
          </p:cNvSpPr>
          <p:nvPr>
            <p:ph type="subTitle" idx="6"/>
          </p:nvPr>
        </p:nvSpPr>
        <p:spPr>
          <a:xfrm>
            <a:off x="3226708" y="3565487"/>
            <a:ext cx="2486100" cy="618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dk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5" name="Google Shape;175;p23"/>
          <p:cNvSpPr txBox="1">
            <a:spLocks noGrp="1"/>
          </p:cNvSpPr>
          <p:nvPr>
            <p:ph type="subTitle" idx="7"/>
          </p:nvPr>
        </p:nvSpPr>
        <p:spPr>
          <a:xfrm>
            <a:off x="719108" y="3171118"/>
            <a:ext cx="2486100" cy="461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400">
                <a:latin typeface="Vidaloka"/>
                <a:ea typeface="Vidaloka"/>
                <a:cs typeface="Vidaloka"/>
                <a:sym typeface="Vidaloka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100"/>
              <a:buNone/>
              <a:defRPr sz="2100" b="1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100"/>
              <a:buNone/>
              <a:defRPr sz="2100" b="1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100"/>
              <a:buNone/>
              <a:defRPr sz="2100" b="1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100"/>
              <a:buNone/>
              <a:defRPr sz="2100" b="1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100"/>
              <a:buNone/>
              <a:defRPr sz="2100" b="1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100"/>
              <a:buNone/>
              <a:defRPr sz="2100" b="1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100"/>
              <a:buNone/>
              <a:defRPr sz="2100" b="1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100"/>
              <a:buNone/>
              <a:defRPr sz="2100" b="1"/>
            </a:lvl9pPr>
          </a:lstStyle>
          <a:p>
            <a:endParaRPr/>
          </a:p>
        </p:txBody>
      </p:sp>
      <p:sp>
        <p:nvSpPr>
          <p:cNvPr id="176" name="Google Shape;176;p23"/>
          <p:cNvSpPr txBox="1">
            <a:spLocks noGrp="1"/>
          </p:cNvSpPr>
          <p:nvPr>
            <p:ph type="subTitle" idx="8"/>
          </p:nvPr>
        </p:nvSpPr>
        <p:spPr>
          <a:xfrm>
            <a:off x="719158" y="3565487"/>
            <a:ext cx="2486100" cy="618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dk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177" name="Google Shape;177;p23"/>
          <p:cNvCxnSpPr/>
          <p:nvPr/>
        </p:nvCxnSpPr>
        <p:spPr>
          <a:xfrm>
            <a:off x="-72550" y="27410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78" name="Google Shape;178;p23"/>
          <p:cNvCxnSpPr/>
          <p:nvPr/>
        </p:nvCxnSpPr>
        <p:spPr>
          <a:xfrm>
            <a:off x="-72550" y="487745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2">
  <p:cSld name="CUSTOM_18"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80" name="Google Shape;180;p24"/>
          <p:cNvCxnSpPr/>
          <p:nvPr/>
        </p:nvCxnSpPr>
        <p:spPr>
          <a:xfrm>
            <a:off x="-72550" y="27410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81" name="Google Shape;181;p24"/>
          <p:cNvCxnSpPr/>
          <p:nvPr/>
        </p:nvCxnSpPr>
        <p:spPr>
          <a:xfrm>
            <a:off x="-72550" y="487745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82" name="Google Shape;182;p24"/>
          <p:cNvCxnSpPr/>
          <p:nvPr/>
        </p:nvCxnSpPr>
        <p:spPr>
          <a:xfrm>
            <a:off x="-250225" y="4076450"/>
            <a:ext cx="1926900" cy="1161000"/>
          </a:xfrm>
          <a:prstGeom prst="curvedConnector3">
            <a:avLst>
              <a:gd name="adj1" fmla="val 50000"/>
            </a:avLst>
          </a:prstGeom>
          <a:noFill/>
          <a:ln w="2857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83" name="Google Shape;183;p24"/>
          <p:cNvCxnSpPr/>
          <p:nvPr/>
        </p:nvCxnSpPr>
        <p:spPr>
          <a:xfrm>
            <a:off x="7441150" y="-48375"/>
            <a:ext cx="1926900" cy="1161000"/>
          </a:xfrm>
          <a:prstGeom prst="curvedConnector3">
            <a:avLst>
              <a:gd name="adj1" fmla="val 50000"/>
            </a:avLst>
          </a:prstGeom>
          <a:noFill/>
          <a:ln w="2857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84" name="Google Shape;184;p24"/>
          <p:cNvSpPr txBox="1">
            <a:spLocks noGrp="1"/>
          </p:cNvSpPr>
          <p:nvPr>
            <p:ph type="body" idx="1"/>
          </p:nvPr>
        </p:nvSpPr>
        <p:spPr>
          <a:xfrm>
            <a:off x="5547900" y="3007750"/>
            <a:ext cx="2883000" cy="1595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 sz="30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1pPr>
            <a:lvl2pPr marL="914400" lvl="1" indent="-3175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 sz="3000">
                <a:latin typeface="Vidaloka"/>
                <a:ea typeface="Vidaloka"/>
                <a:cs typeface="Vidaloka"/>
                <a:sym typeface="Vidaloka"/>
              </a:defRPr>
            </a:lvl2pPr>
            <a:lvl3pPr marL="1371600" lvl="2" indent="-3175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 sz="3000">
                <a:latin typeface="Vidaloka"/>
                <a:ea typeface="Vidaloka"/>
                <a:cs typeface="Vidaloka"/>
                <a:sym typeface="Vidaloka"/>
              </a:defRPr>
            </a:lvl3pPr>
            <a:lvl4pPr marL="1828800" lvl="3" indent="-3175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3000">
                <a:latin typeface="Vidaloka"/>
                <a:ea typeface="Vidaloka"/>
                <a:cs typeface="Vidaloka"/>
                <a:sym typeface="Vidaloka"/>
              </a:defRPr>
            </a:lvl4pPr>
            <a:lvl5pPr marL="2286000" lvl="4" indent="-3175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 sz="3000">
                <a:latin typeface="Vidaloka"/>
                <a:ea typeface="Vidaloka"/>
                <a:cs typeface="Vidaloka"/>
                <a:sym typeface="Vidaloka"/>
              </a:defRPr>
            </a:lvl5pPr>
            <a:lvl6pPr marL="2743200" lvl="5" indent="-3175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 sz="3000">
                <a:latin typeface="Vidaloka"/>
                <a:ea typeface="Vidaloka"/>
                <a:cs typeface="Vidaloka"/>
                <a:sym typeface="Vidaloka"/>
              </a:defRPr>
            </a:lvl6pPr>
            <a:lvl7pPr marL="3200400" lvl="6" indent="-3175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3000">
                <a:latin typeface="Vidaloka"/>
                <a:ea typeface="Vidaloka"/>
                <a:cs typeface="Vidaloka"/>
                <a:sym typeface="Vidaloka"/>
              </a:defRPr>
            </a:lvl7pPr>
            <a:lvl8pPr marL="3657600" lvl="7" indent="-3175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 sz="3000">
                <a:latin typeface="Vidaloka"/>
                <a:ea typeface="Vidaloka"/>
                <a:cs typeface="Vidaloka"/>
                <a:sym typeface="Vidaloka"/>
              </a:defRPr>
            </a:lvl8pPr>
            <a:lvl9pPr marL="4114800" lvl="8" indent="-3175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 sz="3000">
                <a:latin typeface="Vidaloka"/>
                <a:ea typeface="Vidaloka"/>
                <a:cs typeface="Vidaloka"/>
                <a:sym typeface="Vidaloka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 1">
  <p:cSld name="CUSTOM_19">
    <p:spTree>
      <p:nvGrpSpPr>
        <p:cNvPr id="1" name="Shape 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" name="Google Shape;186;p25"/>
          <p:cNvSpPr txBox="1">
            <a:spLocks noGrp="1"/>
          </p:cNvSpPr>
          <p:nvPr>
            <p:ph type="title" hasCustomPrompt="1"/>
          </p:nvPr>
        </p:nvSpPr>
        <p:spPr>
          <a:xfrm>
            <a:off x="713225" y="1345375"/>
            <a:ext cx="6120300" cy="1644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t>xx%</a:t>
            </a:r>
          </a:p>
        </p:txBody>
      </p:sp>
      <p:sp>
        <p:nvSpPr>
          <p:cNvPr id="187" name="Google Shape;187;p25"/>
          <p:cNvSpPr txBox="1">
            <a:spLocks noGrp="1"/>
          </p:cNvSpPr>
          <p:nvPr>
            <p:ph type="subTitle" idx="1"/>
          </p:nvPr>
        </p:nvSpPr>
        <p:spPr>
          <a:xfrm>
            <a:off x="713225" y="3188648"/>
            <a:ext cx="6120300" cy="375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9pPr>
          </a:lstStyle>
          <a:p>
            <a:endParaRPr/>
          </a:p>
        </p:txBody>
      </p:sp>
      <p:cxnSp>
        <p:nvCxnSpPr>
          <p:cNvPr id="188" name="Google Shape;188;p25"/>
          <p:cNvCxnSpPr/>
          <p:nvPr/>
        </p:nvCxnSpPr>
        <p:spPr>
          <a:xfrm>
            <a:off x="-72550" y="27410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89" name="Google Shape;189;p25"/>
          <p:cNvCxnSpPr/>
          <p:nvPr/>
        </p:nvCxnSpPr>
        <p:spPr>
          <a:xfrm>
            <a:off x="-72550" y="487745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90" name="Google Shape;190;p25"/>
          <p:cNvCxnSpPr/>
          <p:nvPr/>
        </p:nvCxnSpPr>
        <p:spPr>
          <a:xfrm>
            <a:off x="7441150" y="-48375"/>
            <a:ext cx="1926900" cy="1161000"/>
          </a:xfrm>
          <a:prstGeom prst="curvedConnector3">
            <a:avLst>
              <a:gd name="adj1" fmla="val 50000"/>
            </a:avLst>
          </a:prstGeom>
          <a:noFill/>
          <a:ln w="2857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91" name="Google Shape;191;p25"/>
          <p:cNvCxnSpPr/>
          <p:nvPr/>
        </p:nvCxnSpPr>
        <p:spPr>
          <a:xfrm flipH="1">
            <a:off x="7454238" y="4053663"/>
            <a:ext cx="1926900" cy="1161000"/>
          </a:xfrm>
          <a:prstGeom prst="curvedConnector3">
            <a:avLst>
              <a:gd name="adj1" fmla="val 50000"/>
            </a:avLst>
          </a:prstGeom>
          <a:noFill/>
          <a:ln w="2857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 2">
  <p:cSld name="SECTION_HEADER_1">
    <p:spTree>
      <p:nvGrpSpPr>
        <p:cNvPr id="1" name="Shape 1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" name="Google Shape;193;p26"/>
          <p:cNvSpPr txBox="1">
            <a:spLocks noGrp="1"/>
          </p:cNvSpPr>
          <p:nvPr>
            <p:ph type="title"/>
          </p:nvPr>
        </p:nvSpPr>
        <p:spPr>
          <a:xfrm>
            <a:off x="4956100" y="2467375"/>
            <a:ext cx="2475300" cy="648900"/>
          </a:xfrm>
          <a:prstGeom prst="rect">
            <a:avLst/>
          </a:prstGeom>
          <a:noFill/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600"/>
              <a:buNone/>
              <a:defRPr sz="3500"/>
            </a:lvl1pPr>
            <a:lvl2pPr lvl="1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2pPr>
            <a:lvl3pPr lvl="2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3pPr>
            <a:lvl4pPr lvl="3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4pPr>
            <a:lvl5pPr lvl="4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5pPr>
            <a:lvl6pPr lvl="5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6pPr>
            <a:lvl7pPr lvl="6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7pPr>
            <a:lvl8pPr lvl="7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8pPr>
            <a:lvl9pPr lvl="8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9pPr>
          </a:lstStyle>
          <a:p>
            <a:endParaRPr/>
          </a:p>
        </p:txBody>
      </p:sp>
      <p:sp>
        <p:nvSpPr>
          <p:cNvPr id="194" name="Google Shape;194;p26"/>
          <p:cNvSpPr txBox="1">
            <a:spLocks noGrp="1"/>
          </p:cNvSpPr>
          <p:nvPr>
            <p:ph type="title" idx="2" hasCustomPrompt="1"/>
          </p:nvPr>
        </p:nvSpPr>
        <p:spPr>
          <a:xfrm>
            <a:off x="4956100" y="1402325"/>
            <a:ext cx="1650900" cy="9783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6000"/>
              <a:buNone/>
              <a:defRPr sz="70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 b="1"/>
            </a:lvl2pPr>
            <a:lvl3pPr lvl="2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 b="1"/>
            </a:lvl3pPr>
            <a:lvl4pPr lvl="3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 b="1"/>
            </a:lvl4pPr>
            <a:lvl5pPr lvl="4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 b="1"/>
            </a:lvl5pPr>
            <a:lvl6pPr lvl="5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 b="1"/>
            </a:lvl6pPr>
            <a:lvl7pPr lvl="6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 b="1"/>
            </a:lvl7pPr>
            <a:lvl8pPr lvl="7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 b="1"/>
            </a:lvl8pPr>
            <a:lvl9pPr lvl="8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 b="1"/>
            </a:lvl9pPr>
          </a:lstStyle>
          <a:p>
            <a:r>
              <a:t>xx%</a:t>
            </a:r>
          </a:p>
        </p:txBody>
      </p:sp>
      <p:sp>
        <p:nvSpPr>
          <p:cNvPr id="195" name="Google Shape;195;p26"/>
          <p:cNvSpPr txBox="1">
            <a:spLocks noGrp="1"/>
          </p:cNvSpPr>
          <p:nvPr>
            <p:ph type="subTitle" idx="1"/>
          </p:nvPr>
        </p:nvSpPr>
        <p:spPr>
          <a:xfrm>
            <a:off x="4956100" y="3116275"/>
            <a:ext cx="2475300" cy="6249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400"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196" name="Google Shape;196;p26"/>
          <p:cNvCxnSpPr/>
          <p:nvPr/>
        </p:nvCxnSpPr>
        <p:spPr>
          <a:xfrm>
            <a:off x="-72550" y="27410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97" name="Google Shape;197;p26"/>
          <p:cNvCxnSpPr/>
          <p:nvPr/>
        </p:nvCxnSpPr>
        <p:spPr>
          <a:xfrm>
            <a:off x="-72550" y="487745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98" name="Google Shape;198;p26"/>
          <p:cNvCxnSpPr/>
          <p:nvPr/>
        </p:nvCxnSpPr>
        <p:spPr>
          <a:xfrm>
            <a:off x="-209600" y="2402450"/>
            <a:ext cx="3144300" cy="2789700"/>
          </a:xfrm>
          <a:prstGeom prst="curvedConnector3">
            <a:avLst>
              <a:gd name="adj1" fmla="val 50000"/>
            </a:avLst>
          </a:prstGeom>
          <a:noFill/>
          <a:ln w="2857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 3">
  <p:cSld name="CUSTOM_20">
    <p:spTree>
      <p:nvGrpSpPr>
        <p:cNvPr id="1" name="Shape 1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0" name="Google Shape;200;p27"/>
          <p:cNvSpPr txBox="1">
            <a:spLocks noGrp="1"/>
          </p:cNvSpPr>
          <p:nvPr>
            <p:ph type="title"/>
          </p:nvPr>
        </p:nvSpPr>
        <p:spPr>
          <a:xfrm>
            <a:off x="4373850" y="944250"/>
            <a:ext cx="2475300" cy="648900"/>
          </a:xfrm>
          <a:prstGeom prst="rect">
            <a:avLst/>
          </a:prstGeom>
          <a:noFill/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600"/>
              <a:buNone/>
              <a:defRPr sz="3500"/>
            </a:lvl1pPr>
            <a:lvl2pPr lvl="1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2pPr>
            <a:lvl3pPr lvl="2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3pPr>
            <a:lvl4pPr lvl="3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4pPr>
            <a:lvl5pPr lvl="4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5pPr>
            <a:lvl6pPr lvl="5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6pPr>
            <a:lvl7pPr lvl="6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7pPr>
            <a:lvl8pPr lvl="7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8pPr>
            <a:lvl9pPr lvl="8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9pPr>
          </a:lstStyle>
          <a:p>
            <a:endParaRPr/>
          </a:p>
        </p:txBody>
      </p:sp>
      <p:sp>
        <p:nvSpPr>
          <p:cNvPr id="201" name="Google Shape;201;p27"/>
          <p:cNvSpPr txBox="1">
            <a:spLocks noGrp="1"/>
          </p:cNvSpPr>
          <p:nvPr>
            <p:ph type="title" idx="2" hasCustomPrompt="1"/>
          </p:nvPr>
        </p:nvSpPr>
        <p:spPr>
          <a:xfrm>
            <a:off x="2294850" y="1096650"/>
            <a:ext cx="1650900" cy="9783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6000"/>
              <a:buNone/>
              <a:defRPr sz="70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 b="1"/>
            </a:lvl2pPr>
            <a:lvl3pPr lvl="2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 b="1"/>
            </a:lvl3pPr>
            <a:lvl4pPr lvl="3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 b="1"/>
            </a:lvl4pPr>
            <a:lvl5pPr lvl="4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 b="1"/>
            </a:lvl5pPr>
            <a:lvl6pPr lvl="5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 b="1"/>
            </a:lvl6pPr>
            <a:lvl7pPr lvl="6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 b="1"/>
            </a:lvl7pPr>
            <a:lvl8pPr lvl="7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 b="1"/>
            </a:lvl8pPr>
            <a:lvl9pPr lvl="8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 b="1"/>
            </a:lvl9pPr>
          </a:lstStyle>
          <a:p>
            <a:r>
              <a:t>xx%</a:t>
            </a:r>
          </a:p>
        </p:txBody>
      </p:sp>
      <p:sp>
        <p:nvSpPr>
          <p:cNvPr id="202" name="Google Shape;202;p27"/>
          <p:cNvSpPr txBox="1">
            <a:spLocks noGrp="1"/>
          </p:cNvSpPr>
          <p:nvPr>
            <p:ph type="subTitle" idx="1"/>
          </p:nvPr>
        </p:nvSpPr>
        <p:spPr>
          <a:xfrm>
            <a:off x="4373850" y="1593150"/>
            <a:ext cx="2475300" cy="6249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400">
                <a:solidFill>
                  <a:schemeClr val="dk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203" name="Google Shape;203;p27"/>
          <p:cNvCxnSpPr/>
          <p:nvPr/>
        </p:nvCxnSpPr>
        <p:spPr>
          <a:xfrm>
            <a:off x="-72550" y="27410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204" name="Google Shape;204;p27"/>
          <p:cNvCxnSpPr/>
          <p:nvPr/>
        </p:nvCxnSpPr>
        <p:spPr>
          <a:xfrm>
            <a:off x="-72550" y="487745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205" name="Google Shape;205;p27"/>
          <p:cNvCxnSpPr/>
          <p:nvPr/>
        </p:nvCxnSpPr>
        <p:spPr>
          <a:xfrm>
            <a:off x="-250225" y="4076450"/>
            <a:ext cx="1926900" cy="1161000"/>
          </a:xfrm>
          <a:prstGeom prst="curvedConnector3">
            <a:avLst>
              <a:gd name="adj1" fmla="val 50000"/>
            </a:avLst>
          </a:prstGeom>
          <a:noFill/>
          <a:ln w="2857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206" name="Google Shape;206;p27"/>
          <p:cNvCxnSpPr/>
          <p:nvPr/>
        </p:nvCxnSpPr>
        <p:spPr>
          <a:xfrm>
            <a:off x="7441150" y="-48375"/>
            <a:ext cx="1926900" cy="1161000"/>
          </a:xfrm>
          <a:prstGeom prst="curvedConnector3">
            <a:avLst>
              <a:gd name="adj1" fmla="val 50000"/>
            </a:avLst>
          </a:prstGeom>
          <a:noFill/>
          <a:ln w="2857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207" name="Google Shape;207;p27"/>
          <p:cNvCxnSpPr/>
          <p:nvPr/>
        </p:nvCxnSpPr>
        <p:spPr>
          <a:xfrm flipH="1">
            <a:off x="7454238" y="4053663"/>
            <a:ext cx="1926900" cy="1161000"/>
          </a:xfrm>
          <a:prstGeom prst="curvedConnector3">
            <a:avLst>
              <a:gd name="adj1" fmla="val 50000"/>
            </a:avLst>
          </a:prstGeom>
          <a:noFill/>
          <a:ln w="2857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208" name="Google Shape;208;p27"/>
          <p:cNvCxnSpPr/>
          <p:nvPr/>
        </p:nvCxnSpPr>
        <p:spPr>
          <a:xfrm flipH="1">
            <a:off x="-237137" y="-71162"/>
            <a:ext cx="1926900" cy="1161000"/>
          </a:xfrm>
          <a:prstGeom prst="curvedConnector3">
            <a:avLst>
              <a:gd name="adj1" fmla="val 50000"/>
            </a:avLst>
          </a:prstGeom>
          <a:noFill/>
          <a:ln w="2857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 3">
  <p:cSld name="CUSTOM_3_1">
    <p:spTree>
      <p:nvGrpSpPr>
        <p:cNvPr id="1" name="Shape 2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" name="Google Shape;210;p28"/>
          <p:cNvSpPr txBox="1">
            <a:spLocks noGrp="1"/>
          </p:cNvSpPr>
          <p:nvPr>
            <p:ph type="title"/>
          </p:nvPr>
        </p:nvSpPr>
        <p:spPr>
          <a:xfrm>
            <a:off x="1043725" y="922567"/>
            <a:ext cx="3123000" cy="2257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3000"/>
              <a:buNone/>
              <a:defRPr sz="3500"/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9pPr>
          </a:lstStyle>
          <a:p>
            <a:endParaRPr/>
          </a:p>
        </p:txBody>
      </p:sp>
      <p:sp>
        <p:nvSpPr>
          <p:cNvPr id="211" name="Google Shape;211;p28"/>
          <p:cNvSpPr txBox="1">
            <a:spLocks noGrp="1"/>
          </p:cNvSpPr>
          <p:nvPr>
            <p:ph type="subTitle" idx="1"/>
          </p:nvPr>
        </p:nvSpPr>
        <p:spPr>
          <a:xfrm>
            <a:off x="1043725" y="3360938"/>
            <a:ext cx="3013500" cy="780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cxnSp>
        <p:nvCxnSpPr>
          <p:cNvPr id="212" name="Google Shape;212;p28"/>
          <p:cNvCxnSpPr/>
          <p:nvPr/>
        </p:nvCxnSpPr>
        <p:spPr>
          <a:xfrm>
            <a:off x="-72550" y="27410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213" name="Google Shape;213;p28"/>
          <p:cNvCxnSpPr/>
          <p:nvPr/>
        </p:nvCxnSpPr>
        <p:spPr>
          <a:xfrm>
            <a:off x="-72550" y="487745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214" name="Google Shape;214;p28"/>
          <p:cNvCxnSpPr/>
          <p:nvPr/>
        </p:nvCxnSpPr>
        <p:spPr>
          <a:xfrm>
            <a:off x="5322650" y="-80625"/>
            <a:ext cx="4005000" cy="2007300"/>
          </a:xfrm>
          <a:prstGeom prst="curvedConnector3">
            <a:avLst>
              <a:gd name="adj1" fmla="val 50000"/>
            </a:avLst>
          </a:prstGeom>
          <a:noFill/>
          <a:ln w="2857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 4">
  <p:cSld name="CUSTOM_21">
    <p:spTree>
      <p:nvGrpSpPr>
        <p:cNvPr id="1" name="Shape 2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6" name="Google Shape;216;p29"/>
          <p:cNvSpPr txBox="1">
            <a:spLocks noGrp="1"/>
          </p:cNvSpPr>
          <p:nvPr>
            <p:ph type="title"/>
          </p:nvPr>
        </p:nvSpPr>
        <p:spPr>
          <a:xfrm>
            <a:off x="5310925" y="962565"/>
            <a:ext cx="3123000" cy="2257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3000"/>
              <a:buNone/>
              <a:defRPr sz="3500"/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9pPr>
          </a:lstStyle>
          <a:p>
            <a:endParaRPr/>
          </a:p>
        </p:txBody>
      </p:sp>
      <p:sp>
        <p:nvSpPr>
          <p:cNvPr id="217" name="Google Shape;217;p29"/>
          <p:cNvSpPr txBox="1">
            <a:spLocks noGrp="1"/>
          </p:cNvSpPr>
          <p:nvPr>
            <p:ph type="subTitle" idx="1"/>
          </p:nvPr>
        </p:nvSpPr>
        <p:spPr>
          <a:xfrm>
            <a:off x="5310925" y="3400935"/>
            <a:ext cx="3013500" cy="780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>
                <a:solidFill>
                  <a:schemeClr val="dk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cxnSp>
        <p:nvCxnSpPr>
          <p:cNvPr id="218" name="Google Shape;218;p29"/>
          <p:cNvCxnSpPr/>
          <p:nvPr/>
        </p:nvCxnSpPr>
        <p:spPr>
          <a:xfrm>
            <a:off x="-72550" y="27410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219" name="Google Shape;219;p29"/>
          <p:cNvCxnSpPr/>
          <p:nvPr/>
        </p:nvCxnSpPr>
        <p:spPr>
          <a:xfrm>
            <a:off x="-72550" y="487745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220" name="Google Shape;220;p29"/>
          <p:cNvCxnSpPr/>
          <p:nvPr/>
        </p:nvCxnSpPr>
        <p:spPr>
          <a:xfrm>
            <a:off x="-250225" y="4076450"/>
            <a:ext cx="1926900" cy="1161000"/>
          </a:xfrm>
          <a:prstGeom prst="curvedConnector3">
            <a:avLst>
              <a:gd name="adj1" fmla="val 50000"/>
            </a:avLst>
          </a:prstGeom>
          <a:noFill/>
          <a:ln w="2857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221" name="Google Shape;221;p29"/>
          <p:cNvCxnSpPr/>
          <p:nvPr/>
        </p:nvCxnSpPr>
        <p:spPr>
          <a:xfrm>
            <a:off x="7441150" y="-48375"/>
            <a:ext cx="1926900" cy="1161000"/>
          </a:xfrm>
          <a:prstGeom prst="curvedConnector3">
            <a:avLst>
              <a:gd name="adj1" fmla="val 50000"/>
            </a:avLst>
          </a:prstGeom>
          <a:noFill/>
          <a:ln w="2857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222" name="Google Shape;222;p29"/>
          <p:cNvCxnSpPr/>
          <p:nvPr/>
        </p:nvCxnSpPr>
        <p:spPr>
          <a:xfrm flipH="1">
            <a:off x="7454238" y="4053663"/>
            <a:ext cx="1926900" cy="1161000"/>
          </a:xfrm>
          <a:prstGeom prst="curvedConnector3">
            <a:avLst>
              <a:gd name="adj1" fmla="val 50000"/>
            </a:avLst>
          </a:prstGeom>
          <a:noFill/>
          <a:ln w="2857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223" name="Google Shape;223;p29"/>
          <p:cNvCxnSpPr/>
          <p:nvPr/>
        </p:nvCxnSpPr>
        <p:spPr>
          <a:xfrm flipH="1">
            <a:off x="-237137" y="-71162"/>
            <a:ext cx="1926900" cy="1161000"/>
          </a:xfrm>
          <a:prstGeom prst="curvedConnector3">
            <a:avLst>
              <a:gd name="adj1" fmla="val 50000"/>
            </a:avLst>
          </a:prstGeom>
          <a:noFill/>
          <a:ln w="2857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hree columns">
  <p:cSld name="CUSTOM_4">
    <p:spTree>
      <p:nvGrpSpPr>
        <p:cNvPr id="1" name="Shape 2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" name="Google Shape;225;p30"/>
          <p:cNvSpPr txBox="1">
            <a:spLocks noGrp="1"/>
          </p:cNvSpPr>
          <p:nvPr>
            <p:ph type="subTitle" idx="1"/>
          </p:nvPr>
        </p:nvSpPr>
        <p:spPr>
          <a:xfrm>
            <a:off x="3509000" y="2532051"/>
            <a:ext cx="2126100" cy="444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9pPr>
          </a:lstStyle>
          <a:p>
            <a:endParaRPr/>
          </a:p>
        </p:txBody>
      </p:sp>
      <p:sp>
        <p:nvSpPr>
          <p:cNvPr id="226" name="Google Shape;226;p30"/>
          <p:cNvSpPr txBox="1">
            <a:spLocks noGrp="1"/>
          </p:cNvSpPr>
          <p:nvPr>
            <p:ph type="subTitle" idx="2"/>
          </p:nvPr>
        </p:nvSpPr>
        <p:spPr>
          <a:xfrm>
            <a:off x="3509025" y="2948247"/>
            <a:ext cx="2126100" cy="813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7" name="Google Shape;227;p30"/>
          <p:cNvSpPr txBox="1">
            <a:spLocks noGrp="1"/>
          </p:cNvSpPr>
          <p:nvPr>
            <p:ph type="subTitle" idx="3"/>
          </p:nvPr>
        </p:nvSpPr>
        <p:spPr>
          <a:xfrm>
            <a:off x="953025" y="2532051"/>
            <a:ext cx="2126100" cy="444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9pPr>
          </a:lstStyle>
          <a:p>
            <a:endParaRPr/>
          </a:p>
        </p:txBody>
      </p:sp>
      <p:sp>
        <p:nvSpPr>
          <p:cNvPr id="228" name="Google Shape;228;p30"/>
          <p:cNvSpPr txBox="1">
            <a:spLocks noGrp="1"/>
          </p:cNvSpPr>
          <p:nvPr>
            <p:ph type="subTitle" idx="4"/>
          </p:nvPr>
        </p:nvSpPr>
        <p:spPr>
          <a:xfrm>
            <a:off x="953125" y="2948247"/>
            <a:ext cx="2126100" cy="813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9" name="Google Shape;229;p30"/>
          <p:cNvSpPr txBox="1">
            <a:spLocks noGrp="1"/>
          </p:cNvSpPr>
          <p:nvPr>
            <p:ph type="subTitle" idx="5"/>
          </p:nvPr>
        </p:nvSpPr>
        <p:spPr>
          <a:xfrm>
            <a:off x="6064875" y="2532051"/>
            <a:ext cx="2126100" cy="444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9pPr>
          </a:lstStyle>
          <a:p>
            <a:endParaRPr/>
          </a:p>
        </p:txBody>
      </p:sp>
      <p:sp>
        <p:nvSpPr>
          <p:cNvPr id="230" name="Google Shape;230;p30"/>
          <p:cNvSpPr txBox="1">
            <a:spLocks noGrp="1"/>
          </p:cNvSpPr>
          <p:nvPr>
            <p:ph type="subTitle" idx="6"/>
          </p:nvPr>
        </p:nvSpPr>
        <p:spPr>
          <a:xfrm>
            <a:off x="6064875" y="2948247"/>
            <a:ext cx="2126100" cy="813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1" name="Google Shape;231;p30"/>
          <p:cNvSpPr txBox="1">
            <a:spLocks noGrp="1"/>
          </p:cNvSpPr>
          <p:nvPr>
            <p:ph type="title"/>
          </p:nvPr>
        </p:nvSpPr>
        <p:spPr>
          <a:xfrm>
            <a:off x="713225" y="445025"/>
            <a:ext cx="66555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/>
                <a:ea typeface="Merriweather Light"/>
                <a:cs typeface="Merriweather Light"/>
                <a:sym typeface="Merriweather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/>
                <a:ea typeface="Merriweather Light"/>
                <a:cs typeface="Merriweather Light"/>
                <a:sym typeface="Merriweather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/>
                <a:ea typeface="Merriweather Light"/>
                <a:cs typeface="Merriweather Light"/>
                <a:sym typeface="Merriweather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/>
                <a:ea typeface="Merriweather Light"/>
                <a:cs typeface="Merriweather Light"/>
                <a:sym typeface="Merriweather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/>
                <a:ea typeface="Merriweather Light"/>
                <a:cs typeface="Merriweather Light"/>
                <a:sym typeface="Merriweather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/>
                <a:ea typeface="Merriweather Light"/>
                <a:cs typeface="Merriweather Light"/>
                <a:sym typeface="Merriweather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/>
                <a:ea typeface="Merriweather Light"/>
                <a:cs typeface="Merriweather Light"/>
                <a:sym typeface="Merriweather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/>
                <a:ea typeface="Merriweather Light"/>
                <a:cs typeface="Merriweather Light"/>
                <a:sym typeface="Merriweather Light"/>
              </a:defRPr>
            </a:lvl9pPr>
          </a:lstStyle>
          <a:p>
            <a:endParaRPr/>
          </a:p>
        </p:txBody>
      </p:sp>
      <p:cxnSp>
        <p:nvCxnSpPr>
          <p:cNvPr id="232" name="Google Shape;232;p30"/>
          <p:cNvCxnSpPr/>
          <p:nvPr/>
        </p:nvCxnSpPr>
        <p:spPr>
          <a:xfrm>
            <a:off x="-72550" y="27410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233" name="Google Shape;233;p30"/>
          <p:cNvCxnSpPr/>
          <p:nvPr/>
        </p:nvCxnSpPr>
        <p:spPr>
          <a:xfrm>
            <a:off x="-72550" y="487745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six columns">
  <p:cSld name="CUSTOM_22">
    <p:spTree>
      <p:nvGrpSpPr>
        <p:cNvPr id="1" name="Shape 2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" name="Google Shape;235;p31"/>
          <p:cNvSpPr txBox="1">
            <a:spLocks noGrp="1"/>
          </p:cNvSpPr>
          <p:nvPr>
            <p:ph type="subTitle" idx="1"/>
          </p:nvPr>
        </p:nvSpPr>
        <p:spPr>
          <a:xfrm>
            <a:off x="3509000" y="1693851"/>
            <a:ext cx="2126100" cy="444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9pPr>
          </a:lstStyle>
          <a:p>
            <a:endParaRPr/>
          </a:p>
        </p:txBody>
      </p:sp>
      <p:sp>
        <p:nvSpPr>
          <p:cNvPr id="236" name="Google Shape;236;p31"/>
          <p:cNvSpPr txBox="1">
            <a:spLocks noGrp="1"/>
          </p:cNvSpPr>
          <p:nvPr>
            <p:ph type="subTitle" idx="2"/>
          </p:nvPr>
        </p:nvSpPr>
        <p:spPr>
          <a:xfrm>
            <a:off x="3509025" y="2110049"/>
            <a:ext cx="21261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7" name="Google Shape;237;p31"/>
          <p:cNvSpPr txBox="1">
            <a:spLocks noGrp="1"/>
          </p:cNvSpPr>
          <p:nvPr>
            <p:ph type="subTitle" idx="3"/>
          </p:nvPr>
        </p:nvSpPr>
        <p:spPr>
          <a:xfrm>
            <a:off x="953025" y="1693851"/>
            <a:ext cx="2126100" cy="444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9pPr>
          </a:lstStyle>
          <a:p>
            <a:endParaRPr/>
          </a:p>
        </p:txBody>
      </p:sp>
      <p:sp>
        <p:nvSpPr>
          <p:cNvPr id="238" name="Google Shape;238;p31"/>
          <p:cNvSpPr txBox="1">
            <a:spLocks noGrp="1"/>
          </p:cNvSpPr>
          <p:nvPr>
            <p:ph type="subTitle" idx="4"/>
          </p:nvPr>
        </p:nvSpPr>
        <p:spPr>
          <a:xfrm>
            <a:off x="953125" y="2110049"/>
            <a:ext cx="21261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9" name="Google Shape;239;p31"/>
          <p:cNvSpPr txBox="1">
            <a:spLocks noGrp="1"/>
          </p:cNvSpPr>
          <p:nvPr>
            <p:ph type="subTitle" idx="5"/>
          </p:nvPr>
        </p:nvSpPr>
        <p:spPr>
          <a:xfrm>
            <a:off x="6064875" y="1693851"/>
            <a:ext cx="2126100" cy="444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9pPr>
          </a:lstStyle>
          <a:p>
            <a:endParaRPr/>
          </a:p>
        </p:txBody>
      </p:sp>
      <p:sp>
        <p:nvSpPr>
          <p:cNvPr id="240" name="Google Shape;240;p31"/>
          <p:cNvSpPr txBox="1">
            <a:spLocks noGrp="1"/>
          </p:cNvSpPr>
          <p:nvPr>
            <p:ph type="subTitle" idx="6"/>
          </p:nvPr>
        </p:nvSpPr>
        <p:spPr>
          <a:xfrm>
            <a:off x="6064875" y="2110049"/>
            <a:ext cx="21261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1" name="Google Shape;241;p31"/>
          <p:cNvSpPr txBox="1">
            <a:spLocks noGrp="1"/>
          </p:cNvSpPr>
          <p:nvPr>
            <p:ph type="title"/>
          </p:nvPr>
        </p:nvSpPr>
        <p:spPr>
          <a:xfrm>
            <a:off x="1244250" y="445025"/>
            <a:ext cx="66555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/>
                <a:ea typeface="Merriweather Light"/>
                <a:cs typeface="Merriweather Light"/>
                <a:sym typeface="Merriweather Light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/>
                <a:ea typeface="Merriweather Light"/>
                <a:cs typeface="Merriweather Light"/>
                <a:sym typeface="Merriweather Light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/>
                <a:ea typeface="Merriweather Light"/>
                <a:cs typeface="Merriweather Light"/>
                <a:sym typeface="Merriweather Light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/>
                <a:ea typeface="Merriweather Light"/>
                <a:cs typeface="Merriweather Light"/>
                <a:sym typeface="Merriweather Light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/>
                <a:ea typeface="Merriweather Light"/>
                <a:cs typeface="Merriweather Light"/>
                <a:sym typeface="Merriweather Light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/>
                <a:ea typeface="Merriweather Light"/>
                <a:cs typeface="Merriweather Light"/>
                <a:sym typeface="Merriweather Light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/>
                <a:ea typeface="Merriweather Light"/>
                <a:cs typeface="Merriweather Light"/>
                <a:sym typeface="Merriweather Light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/>
                <a:ea typeface="Merriweather Light"/>
                <a:cs typeface="Merriweather Light"/>
                <a:sym typeface="Merriweather Light"/>
              </a:defRPr>
            </a:lvl9pPr>
          </a:lstStyle>
          <a:p>
            <a:endParaRPr/>
          </a:p>
        </p:txBody>
      </p:sp>
      <p:sp>
        <p:nvSpPr>
          <p:cNvPr id="242" name="Google Shape;242;p31"/>
          <p:cNvSpPr txBox="1">
            <a:spLocks noGrp="1"/>
          </p:cNvSpPr>
          <p:nvPr>
            <p:ph type="subTitle" idx="7"/>
          </p:nvPr>
        </p:nvSpPr>
        <p:spPr>
          <a:xfrm>
            <a:off x="3509000" y="3398751"/>
            <a:ext cx="2126100" cy="444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9pPr>
          </a:lstStyle>
          <a:p>
            <a:endParaRPr/>
          </a:p>
        </p:txBody>
      </p:sp>
      <p:sp>
        <p:nvSpPr>
          <p:cNvPr id="243" name="Google Shape;243;p31"/>
          <p:cNvSpPr txBox="1">
            <a:spLocks noGrp="1"/>
          </p:cNvSpPr>
          <p:nvPr>
            <p:ph type="subTitle" idx="8"/>
          </p:nvPr>
        </p:nvSpPr>
        <p:spPr>
          <a:xfrm>
            <a:off x="3509025" y="3814949"/>
            <a:ext cx="21261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4" name="Google Shape;244;p31"/>
          <p:cNvSpPr txBox="1">
            <a:spLocks noGrp="1"/>
          </p:cNvSpPr>
          <p:nvPr>
            <p:ph type="subTitle" idx="9"/>
          </p:nvPr>
        </p:nvSpPr>
        <p:spPr>
          <a:xfrm>
            <a:off x="953025" y="3398751"/>
            <a:ext cx="2126100" cy="444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9pPr>
          </a:lstStyle>
          <a:p>
            <a:endParaRPr/>
          </a:p>
        </p:txBody>
      </p:sp>
      <p:sp>
        <p:nvSpPr>
          <p:cNvPr id="245" name="Google Shape;245;p31"/>
          <p:cNvSpPr txBox="1">
            <a:spLocks noGrp="1"/>
          </p:cNvSpPr>
          <p:nvPr>
            <p:ph type="subTitle" idx="13"/>
          </p:nvPr>
        </p:nvSpPr>
        <p:spPr>
          <a:xfrm>
            <a:off x="953125" y="3814949"/>
            <a:ext cx="21261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6" name="Google Shape;246;p31"/>
          <p:cNvSpPr txBox="1">
            <a:spLocks noGrp="1"/>
          </p:cNvSpPr>
          <p:nvPr>
            <p:ph type="subTitle" idx="14"/>
          </p:nvPr>
        </p:nvSpPr>
        <p:spPr>
          <a:xfrm>
            <a:off x="6064875" y="3398751"/>
            <a:ext cx="2126100" cy="444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9pPr>
          </a:lstStyle>
          <a:p>
            <a:endParaRPr/>
          </a:p>
        </p:txBody>
      </p:sp>
      <p:sp>
        <p:nvSpPr>
          <p:cNvPr id="247" name="Google Shape;247;p31"/>
          <p:cNvSpPr txBox="1">
            <a:spLocks noGrp="1"/>
          </p:cNvSpPr>
          <p:nvPr>
            <p:ph type="subTitle" idx="15"/>
          </p:nvPr>
        </p:nvSpPr>
        <p:spPr>
          <a:xfrm>
            <a:off x="6064875" y="3814949"/>
            <a:ext cx="21261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248" name="Google Shape;248;p31"/>
          <p:cNvCxnSpPr/>
          <p:nvPr/>
        </p:nvCxnSpPr>
        <p:spPr>
          <a:xfrm>
            <a:off x="-72550" y="27410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249" name="Google Shape;249;p31"/>
          <p:cNvCxnSpPr/>
          <p:nvPr/>
        </p:nvCxnSpPr>
        <p:spPr>
          <a:xfrm>
            <a:off x="-72550" y="487745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250" name="Google Shape;250;p31"/>
          <p:cNvCxnSpPr/>
          <p:nvPr/>
        </p:nvCxnSpPr>
        <p:spPr>
          <a:xfrm>
            <a:off x="-250225" y="4076450"/>
            <a:ext cx="1926900" cy="1161000"/>
          </a:xfrm>
          <a:prstGeom prst="curvedConnector3">
            <a:avLst>
              <a:gd name="adj1" fmla="val 50000"/>
            </a:avLst>
          </a:prstGeom>
          <a:noFill/>
          <a:ln w="2857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251" name="Google Shape;251;p31"/>
          <p:cNvCxnSpPr/>
          <p:nvPr/>
        </p:nvCxnSpPr>
        <p:spPr>
          <a:xfrm>
            <a:off x="7441150" y="-48375"/>
            <a:ext cx="1926900" cy="1161000"/>
          </a:xfrm>
          <a:prstGeom prst="curvedConnector3">
            <a:avLst>
              <a:gd name="adj1" fmla="val 50000"/>
            </a:avLst>
          </a:prstGeom>
          <a:noFill/>
          <a:ln w="2857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Google Shape;24;p4"/>
          <p:cNvSpPr txBox="1">
            <a:spLocks noGrp="1"/>
          </p:cNvSpPr>
          <p:nvPr>
            <p:ph type="title"/>
          </p:nvPr>
        </p:nvSpPr>
        <p:spPr>
          <a:xfrm>
            <a:off x="713225" y="445025"/>
            <a:ext cx="47115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9pPr>
          </a:lstStyle>
          <a:p>
            <a:endParaRPr/>
          </a:p>
        </p:txBody>
      </p:sp>
      <p:sp>
        <p:nvSpPr>
          <p:cNvPr id="25" name="Google Shape;25;p4"/>
          <p:cNvSpPr txBox="1">
            <a:spLocks noGrp="1"/>
          </p:cNvSpPr>
          <p:nvPr>
            <p:ph type="body" idx="1"/>
          </p:nvPr>
        </p:nvSpPr>
        <p:spPr>
          <a:xfrm>
            <a:off x="713250" y="1272925"/>
            <a:ext cx="7717500" cy="3295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Lato"/>
              <a:buChar char="●"/>
              <a:defRPr sz="1100"/>
            </a:lvl1pPr>
            <a:lvl2pPr marL="914400" lvl="1" indent="-31750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Lato"/>
              <a:buChar char="○"/>
              <a:defRPr/>
            </a:lvl2pPr>
            <a:lvl3pPr marL="1371600" lvl="2" indent="-31750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Lato"/>
              <a:buChar char="■"/>
              <a:defRPr/>
            </a:lvl3pPr>
            <a:lvl4pPr marL="1828800" lvl="3" indent="-31750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Lato"/>
              <a:buChar char="●"/>
              <a:defRPr/>
            </a:lvl4pPr>
            <a:lvl5pPr marL="2286000" lvl="4" indent="-31750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Lato"/>
              <a:buChar char="○"/>
              <a:defRPr/>
            </a:lvl5pPr>
            <a:lvl6pPr marL="2743200" lvl="5" indent="-31750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Lato"/>
              <a:buChar char="■"/>
              <a:defRPr/>
            </a:lvl6pPr>
            <a:lvl7pPr marL="3200400" lvl="6" indent="-31750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Lato"/>
              <a:buChar char="●"/>
              <a:defRPr/>
            </a:lvl7pPr>
            <a:lvl8pPr marL="3657600" lvl="7" indent="-31750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Lato"/>
              <a:buChar char="○"/>
              <a:defRPr/>
            </a:lvl8pPr>
            <a:lvl9pPr marL="4114800" lvl="8" indent="-31750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Lato"/>
              <a:buChar char="■"/>
              <a:defRPr/>
            </a:lvl9pPr>
          </a:lstStyle>
          <a:p>
            <a:endParaRPr/>
          </a:p>
        </p:txBody>
      </p:sp>
      <p:cxnSp>
        <p:nvCxnSpPr>
          <p:cNvPr id="26" name="Google Shape;26;p4"/>
          <p:cNvCxnSpPr/>
          <p:nvPr/>
        </p:nvCxnSpPr>
        <p:spPr>
          <a:xfrm>
            <a:off x="-72550" y="27410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27" name="Google Shape;27;p4"/>
          <p:cNvCxnSpPr/>
          <p:nvPr/>
        </p:nvCxnSpPr>
        <p:spPr>
          <a:xfrm>
            <a:off x="-72550" y="487745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28" name="Google Shape;28;p4"/>
          <p:cNvCxnSpPr/>
          <p:nvPr/>
        </p:nvCxnSpPr>
        <p:spPr>
          <a:xfrm>
            <a:off x="6884900" y="-113600"/>
            <a:ext cx="2565600" cy="1306200"/>
          </a:xfrm>
          <a:prstGeom prst="curvedConnector3">
            <a:avLst>
              <a:gd name="adj1" fmla="val 50000"/>
            </a:avLst>
          </a:prstGeom>
          <a:noFill/>
          <a:ln w="2857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six columns 1 -">
  <p:cSld name="CUSTOM_32">
    <p:spTree>
      <p:nvGrpSpPr>
        <p:cNvPr id="1" name="Shape 2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3" name="Google Shape;253;p32"/>
          <p:cNvSpPr txBox="1">
            <a:spLocks noGrp="1"/>
          </p:cNvSpPr>
          <p:nvPr>
            <p:ph type="subTitle" idx="1"/>
          </p:nvPr>
        </p:nvSpPr>
        <p:spPr>
          <a:xfrm>
            <a:off x="3414050" y="1714429"/>
            <a:ext cx="2316000" cy="437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/>
              <a:buNone/>
              <a:defRPr sz="2400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/>
              <a:buNone/>
              <a:defRPr sz="2400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/>
              <a:buNone/>
              <a:defRPr sz="2400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/>
              <a:buNone/>
              <a:defRPr sz="2400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/>
              <a:buNone/>
              <a:defRPr sz="2400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/>
              <a:buNone/>
              <a:defRPr sz="2400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/>
              <a:buNone/>
              <a:defRPr sz="2400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/>
              <a:buNone/>
              <a:defRPr sz="2400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/>
              <a:buNone/>
              <a:defRPr sz="2400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9pPr>
          </a:lstStyle>
          <a:p>
            <a:endParaRPr/>
          </a:p>
        </p:txBody>
      </p:sp>
      <p:sp>
        <p:nvSpPr>
          <p:cNvPr id="254" name="Google Shape;254;p32"/>
          <p:cNvSpPr txBox="1">
            <a:spLocks noGrp="1"/>
          </p:cNvSpPr>
          <p:nvPr>
            <p:ph type="subTitle" idx="2"/>
          </p:nvPr>
        </p:nvSpPr>
        <p:spPr>
          <a:xfrm>
            <a:off x="3564200" y="2124122"/>
            <a:ext cx="20157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5" name="Google Shape;255;p32"/>
          <p:cNvSpPr txBox="1">
            <a:spLocks noGrp="1"/>
          </p:cNvSpPr>
          <p:nvPr>
            <p:ph type="subTitle" idx="3"/>
          </p:nvPr>
        </p:nvSpPr>
        <p:spPr>
          <a:xfrm>
            <a:off x="705725" y="1714429"/>
            <a:ext cx="2316000" cy="437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/>
              <a:buNone/>
              <a:defRPr sz="2400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/>
              <a:buNone/>
              <a:defRPr sz="2400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/>
              <a:buNone/>
              <a:defRPr sz="2400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/>
              <a:buNone/>
              <a:defRPr sz="2400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/>
              <a:buNone/>
              <a:defRPr sz="2400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/>
              <a:buNone/>
              <a:defRPr sz="2400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/>
              <a:buNone/>
              <a:defRPr sz="2400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/>
              <a:buNone/>
              <a:defRPr sz="2400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/>
              <a:buNone/>
              <a:defRPr sz="2400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9pPr>
          </a:lstStyle>
          <a:p>
            <a:endParaRPr/>
          </a:p>
        </p:txBody>
      </p:sp>
      <p:sp>
        <p:nvSpPr>
          <p:cNvPr id="256" name="Google Shape;256;p32"/>
          <p:cNvSpPr txBox="1">
            <a:spLocks noGrp="1"/>
          </p:cNvSpPr>
          <p:nvPr>
            <p:ph type="subTitle" idx="4"/>
          </p:nvPr>
        </p:nvSpPr>
        <p:spPr>
          <a:xfrm>
            <a:off x="855875" y="2124122"/>
            <a:ext cx="20157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7" name="Google Shape;257;p32"/>
          <p:cNvSpPr txBox="1">
            <a:spLocks noGrp="1"/>
          </p:cNvSpPr>
          <p:nvPr>
            <p:ph type="subTitle" idx="5"/>
          </p:nvPr>
        </p:nvSpPr>
        <p:spPr>
          <a:xfrm>
            <a:off x="6122325" y="1714429"/>
            <a:ext cx="2316000" cy="437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/>
              <a:buNone/>
              <a:defRPr sz="2400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/>
              <a:buNone/>
              <a:defRPr sz="2400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/>
              <a:buNone/>
              <a:defRPr sz="2400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/>
              <a:buNone/>
              <a:defRPr sz="2400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/>
              <a:buNone/>
              <a:defRPr sz="2400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/>
              <a:buNone/>
              <a:defRPr sz="2400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/>
              <a:buNone/>
              <a:defRPr sz="2400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/>
              <a:buNone/>
              <a:defRPr sz="2400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/>
              <a:buNone/>
              <a:defRPr sz="2400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9pPr>
          </a:lstStyle>
          <a:p>
            <a:endParaRPr/>
          </a:p>
        </p:txBody>
      </p:sp>
      <p:sp>
        <p:nvSpPr>
          <p:cNvPr id="258" name="Google Shape;258;p32"/>
          <p:cNvSpPr txBox="1">
            <a:spLocks noGrp="1"/>
          </p:cNvSpPr>
          <p:nvPr>
            <p:ph type="subTitle" idx="6"/>
          </p:nvPr>
        </p:nvSpPr>
        <p:spPr>
          <a:xfrm>
            <a:off x="6272475" y="2124122"/>
            <a:ext cx="20157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9" name="Google Shape;259;p32"/>
          <p:cNvSpPr txBox="1">
            <a:spLocks noGrp="1"/>
          </p:cNvSpPr>
          <p:nvPr>
            <p:ph type="subTitle" idx="7"/>
          </p:nvPr>
        </p:nvSpPr>
        <p:spPr>
          <a:xfrm>
            <a:off x="3414050" y="3453326"/>
            <a:ext cx="2316000" cy="437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/>
              <a:buNone/>
              <a:defRPr sz="2400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/>
              <a:buNone/>
              <a:defRPr sz="2400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/>
              <a:buNone/>
              <a:defRPr sz="2400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/>
              <a:buNone/>
              <a:defRPr sz="2400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/>
              <a:buNone/>
              <a:defRPr sz="2400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/>
              <a:buNone/>
              <a:defRPr sz="2400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/>
              <a:buNone/>
              <a:defRPr sz="2400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/>
              <a:buNone/>
              <a:defRPr sz="2400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/>
              <a:buNone/>
              <a:defRPr sz="2400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9pPr>
          </a:lstStyle>
          <a:p>
            <a:endParaRPr/>
          </a:p>
        </p:txBody>
      </p:sp>
      <p:sp>
        <p:nvSpPr>
          <p:cNvPr id="260" name="Google Shape;260;p32"/>
          <p:cNvSpPr txBox="1">
            <a:spLocks noGrp="1"/>
          </p:cNvSpPr>
          <p:nvPr>
            <p:ph type="subTitle" idx="8"/>
          </p:nvPr>
        </p:nvSpPr>
        <p:spPr>
          <a:xfrm>
            <a:off x="3564200" y="3869536"/>
            <a:ext cx="20157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1" name="Google Shape;261;p32"/>
          <p:cNvSpPr txBox="1">
            <a:spLocks noGrp="1"/>
          </p:cNvSpPr>
          <p:nvPr>
            <p:ph type="subTitle" idx="9"/>
          </p:nvPr>
        </p:nvSpPr>
        <p:spPr>
          <a:xfrm>
            <a:off x="705725" y="3453326"/>
            <a:ext cx="2316000" cy="437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/>
              <a:buNone/>
              <a:defRPr sz="2400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/>
              <a:buNone/>
              <a:defRPr sz="2400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/>
              <a:buNone/>
              <a:defRPr sz="2400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/>
              <a:buNone/>
              <a:defRPr sz="2400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/>
              <a:buNone/>
              <a:defRPr sz="2400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/>
              <a:buNone/>
              <a:defRPr sz="2400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/>
              <a:buNone/>
              <a:defRPr sz="2400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/>
              <a:buNone/>
              <a:defRPr sz="2400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/>
              <a:buNone/>
              <a:defRPr sz="2400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9pPr>
          </a:lstStyle>
          <a:p>
            <a:endParaRPr/>
          </a:p>
        </p:txBody>
      </p:sp>
      <p:sp>
        <p:nvSpPr>
          <p:cNvPr id="262" name="Google Shape;262;p32"/>
          <p:cNvSpPr txBox="1">
            <a:spLocks noGrp="1"/>
          </p:cNvSpPr>
          <p:nvPr>
            <p:ph type="subTitle" idx="13"/>
          </p:nvPr>
        </p:nvSpPr>
        <p:spPr>
          <a:xfrm>
            <a:off x="855875" y="3869536"/>
            <a:ext cx="20157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3" name="Google Shape;263;p32"/>
          <p:cNvSpPr txBox="1">
            <a:spLocks noGrp="1"/>
          </p:cNvSpPr>
          <p:nvPr>
            <p:ph type="subTitle" idx="14"/>
          </p:nvPr>
        </p:nvSpPr>
        <p:spPr>
          <a:xfrm>
            <a:off x="6122325" y="3453326"/>
            <a:ext cx="2316000" cy="437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/>
              <a:buNone/>
              <a:defRPr sz="2400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/>
              <a:buNone/>
              <a:defRPr sz="2400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/>
              <a:buNone/>
              <a:defRPr sz="2400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/>
              <a:buNone/>
              <a:defRPr sz="2400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/>
              <a:buNone/>
              <a:defRPr sz="2400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/>
              <a:buNone/>
              <a:defRPr sz="2400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/>
              <a:buNone/>
              <a:defRPr sz="2400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/>
              <a:buNone/>
              <a:defRPr sz="2400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/>
              <a:buNone/>
              <a:defRPr sz="2400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9pPr>
          </a:lstStyle>
          <a:p>
            <a:endParaRPr/>
          </a:p>
        </p:txBody>
      </p:sp>
      <p:sp>
        <p:nvSpPr>
          <p:cNvPr id="264" name="Google Shape;264;p32"/>
          <p:cNvSpPr txBox="1">
            <a:spLocks noGrp="1"/>
          </p:cNvSpPr>
          <p:nvPr>
            <p:ph type="subTitle" idx="15"/>
          </p:nvPr>
        </p:nvSpPr>
        <p:spPr>
          <a:xfrm>
            <a:off x="6272475" y="3869536"/>
            <a:ext cx="20157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5" name="Google Shape;265;p32"/>
          <p:cNvSpPr txBox="1">
            <a:spLocks noGrp="1"/>
          </p:cNvSpPr>
          <p:nvPr>
            <p:ph type="title"/>
          </p:nvPr>
        </p:nvSpPr>
        <p:spPr>
          <a:xfrm>
            <a:off x="713225" y="445025"/>
            <a:ext cx="60807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/>
                <a:ea typeface="Merriweather Light"/>
                <a:cs typeface="Merriweather Light"/>
                <a:sym typeface="Merriweather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/>
                <a:ea typeface="Merriweather Light"/>
                <a:cs typeface="Merriweather Light"/>
                <a:sym typeface="Merriweather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/>
                <a:ea typeface="Merriweather Light"/>
                <a:cs typeface="Merriweather Light"/>
                <a:sym typeface="Merriweather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/>
                <a:ea typeface="Merriweather Light"/>
                <a:cs typeface="Merriweather Light"/>
                <a:sym typeface="Merriweather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/>
                <a:ea typeface="Merriweather Light"/>
                <a:cs typeface="Merriweather Light"/>
                <a:sym typeface="Merriweather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/>
                <a:ea typeface="Merriweather Light"/>
                <a:cs typeface="Merriweather Light"/>
                <a:sym typeface="Merriweather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/>
                <a:ea typeface="Merriweather Light"/>
                <a:cs typeface="Merriweather Light"/>
                <a:sym typeface="Merriweather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/>
                <a:ea typeface="Merriweather Light"/>
                <a:cs typeface="Merriweather Light"/>
                <a:sym typeface="Merriweather Light"/>
              </a:defRPr>
            </a:lvl9pPr>
          </a:lstStyle>
          <a:p>
            <a:endParaRPr/>
          </a:p>
        </p:txBody>
      </p:sp>
      <p:cxnSp>
        <p:nvCxnSpPr>
          <p:cNvPr id="266" name="Google Shape;266;p32"/>
          <p:cNvCxnSpPr/>
          <p:nvPr/>
        </p:nvCxnSpPr>
        <p:spPr>
          <a:xfrm>
            <a:off x="-72550" y="27410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267" name="Google Shape;267;p32"/>
          <p:cNvCxnSpPr/>
          <p:nvPr/>
        </p:nvCxnSpPr>
        <p:spPr>
          <a:xfrm>
            <a:off x="-72550" y="487745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five columns">
  <p:cSld name="CUSTOM_33">
    <p:spTree>
      <p:nvGrpSpPr>
        <p:cNvPr id="1" name="Shape 2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9" name="Google Shape;269;p33"/>
          <p:cNvSpPr txBox="1">
            <a:spLocks noGrp="1"/>
          </p:cNvSpPr>
          <p:nvPr>
            <p:ph type="subTitle" idx="1"/>
          </p:nvPr>
        </p:nvSpPr>
        <p:spPr>
          <a:xfrm>
            <a:off x="3414050" y="1714429"/>
            <a:ext cx="2316000" cy="437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/>
              <a:buNone/>
              <a:defRPr sz="2400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/>
              <a:buNone/>
              <a:defRPr sz="2400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/>
              <a:buNone/>
              <a:defRPr sz="2400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/>
              <a:buNone/>
              <a:defRPr sz="2400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/>
              <a:buNone/>
              <a:defRPr sz="2400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/>
              <a:buNone/>
              <a:defRPr sz="2400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/>
              <a:buNone/>
              <a:defRPr sz="2400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/>
              <a:buNone/>
              <a:defRPr sz="2400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/>
              <a:buNone/>
              <a:defRPr sz="2400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9pPr>
          </a:lstStyle>
          <a:p>
            <a:endParaRPr/>
          </a:p>
        </p:txBody>
      </p:sp>
      <p:sp>
        <p:nvSpPr>
          <p:cNvPr id="270" name="Google Shape;270;p33"/>
          <p:cNvSpPr txBox="1">
            <a:spLocks noGrp="1"/>
          </p:cNvSpPr>
          <p:nvPr>
            <p:ph type="subTitle" idx="2"/>
          </p:nvPr>
        </p:nvSpPr>
        <p:spPr>
          <a:xfrm>
            <a:off x="3564200" y="2124122"/>
            <a:ext cx="20157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1" name="Google Shape;271;p33"/>
          <p:cNvSpPr txBox="1">
            <a:spLocks noGrp="1"/>
          </p:cNvSpPr>
          <p:nvPr>
            <p:ph type="subTitle" idx="3"/>
          </p:nvPr>
        </p:nvSpPr>
        <p:spPr>
          <a:xfrm>
            <a:off x="705725" y="1714429"/>
            <a:ext cx="2316000" cy="437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/>
              <a:buNone/>
              <a:defRPr sz="2400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/>
              <a:buNone/>
              <a:defRPr sz="2400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/>
              <a:buNone/>
              <a:defRPr sz="2400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/>
              <a:buNone/>
              <a:defRPr sz="2400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/>
              <a:buNone/>
              <a:defRPr sz="2400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/>
              <a:buNone/>
              <a:defRPr sz="2400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/>
              <a:buNone/>
              <a:defRPr sz="2400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/>
              <a:buNone/>
              <a:defRPr sz="2400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/>
              <a:buNone/>
              <a:defRPr sz="2400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9pPr>
          </a:lstStyle>
          <a:p>
            <a:endParaRPr/>
          </a:p>
        </p:txBody>
      </p:sp>
      <p:sp>
        <p:nvSpPr>
          <p:cNvPr id="272" name="Google Shape;272;p33"/>
          <p:cNvSpPr txBox="1">
            <a:spLocks noGrp="1"/>
          </p:cNvSpPr>
          <p:nvPr>
            <p:ph type="subTitle" idx="4"/>
          </p:nvPr>
        </p:nvSpPr>
        <p:spPr>
          <a:xfrm>
            <a:off x="855875" y="2124122"/>
            <a:ext cx="20157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3" name="Google Shape;273;p33"/>
          <p:cNvSpPr txBox="1">
            <a:spLocks noGrp="1"/>
          </p:cNvSpPr>
          <p:nvPr>
            <p:ph type="subTitle" idx="5"/>
          </p:nvPr>
        </p:nvSpPr>
        <p:spPr>
          <a:xfrm>
            <a:off x="6122325" y="1714429"/>
            <a:ext cx="2316000" cy="437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/>
              <a:buNone/>
              <a:defRPr sz="2400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/>
              <a:buNone/>
              <a:defRPr sz="2400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/>
              <a:buNone/>
              <a:defRPr sz="2400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/>
              <a:buNone/>
              <a:defRPr sz="2400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/>
              <a:buNone/>
              <a:defRPr sz="2400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/>
              <a:buNone/>
              <a:defRPr sz="2400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/>
              <a:buNone/>
              <a:defRPr sz="2400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/>
              <a:buNone/>
              <a:defRPr sz="2400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/>
              <a:buNone/>
              <a:defRPr sz="2400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9pPr>
          </a:lstStyle>
          <a:p>
            <a:endParaRPr/>
          </a:p>
        </p:txBody>
      </p:sp>
      <p:sp>
        <p:nvSpPr>
          <p:cNvPr id="274" name="Google Shape;274;p33"/>
          <p:cNvSpPr txBox="1">
            <a:spLocks noGrp="1"/>
          </p:cNvSpPr>
          <p:nvPr>
            <p:ph type="subTitle" idx="6"/>
          </p:nvPr>
        </p:nvSpPr>
        <p:spPr>
          <a:xfrm>
            <a:off x="6272475" y="2124122"/>
            <a:ext cx="20157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dk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5" name="Google Shape;275;p33"/>
          <p:cNvSpPr txBox="1">
            <a:spLocks noGrp="1"/>
          </p:cNvSpPr>
          <p:nvPr>
            <p:ph type="subTitle" idx="7"/>
          </p:nvPr>
        </p:nvSpPr>
        <p:spPr>
          <a:xfrm>
            <a:off x="2059863" y="3148526"/>
            <a:ext cx="2316000" cy="437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/>
              <a:buNone/>
              <a:defRPr sz="2400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/>
              <a:buNone/>
              <a:defRPr sz="2400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/>
              <a:buNone/>
              <a:defRPr sz="2400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/>
              <a:buNone/>
              <a:defRPr sz="2400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/>
              <a:buNone/>
              <a:defRPr sz="2400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/>
              <a:buNone/>
              <a:defRPr sz="2400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/>
              <a:buNone/>
              <a:defRPr sz="2400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/>
              <a:buNone/>
              <a:defRPr sz="2400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/>
              <a:buNone/>
              <a:defRPr sz="2400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9pPr>
          </a:lstStyle>
          <a:p>
            <a:endParaRPr/>
          </a:p>
        </p:txBody>
      </p:sp>
      <p:sp>
        <p:nvSpPr>
          <p:cNvPr id="276" name="Google Shape;276;p33"/>
          <p:cNvSpPr txBox="1">
            <a:spLocks noGrp="1"/>
          </p:cNvSpPr>
          <p:nvPr>
            <p:ph type="subTitle" idx="8"/>
          </p:nvPr>
        </p:nvSpPr>
        <p:spPr>
          <a:xfrm>
            <a:off x="2210013" y="3564736"/>
            <a:ext cx="20157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7" name="Google Shape;277;p33"/>
          <p:cNvSpPr txBox="1">
            <a:spLocks noGrp="1"/>
          </p:cNvSpPr>
          <p:nvPr>
            <p:ph type="subTitle" idx="9"/>
          </p:nvPr>
        </p:nvSpPr>
        <p:spPr>
          <a:xfrm>
            <a:off x="4768138" y="3148526"/>
            <a:ext cx="2316000" cy="437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/>
              <a:buNone/>
              <a:defRPr sz="2400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/>
              <a:buNone/>
              <a:defRPr sz="2400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/>
              <a:buNone/>
              <a:defRPr sz="2400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/>
              <a:buNone/>
              <a:defRPr sz="2400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/>
              <a:buNone/>
              <a:defRPr sz="2400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/>
              <a:buNone/>
              <a:defRPr sz="2400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/>
              <a:buNone/>
              <a:defRPr sz="2400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/>
              <a:buNone/>
              <a:defRPr sz="2400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/>
              <a:buNone/>
              <a:defRPr sz="2400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9pPr>
          </a:lstStyle>
          <a:p>
            <a:endParaRPr/>
          </a:p>
        </p:txBody>
      </p:sp>
      <p:sp>
        <p:nvSpPr>
          <p:cNvPr id="278" name="Google Shape;278;p33"/>
          <p:cNvSpPr txBox="1">
            <a:spLocks noGrp="1"/>
          </p:cNvSpPr>
          <p:nvPr>
            <p:ph type="subTitle" idx="13"/>
          </p:nvPr>
        </p:nvSpPr>
        <p:spPr>
          <a:xfrm>
            <a:off x="4918288" y="3564736"/>
            <a:ext cx="20157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dk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9" name="Google Shape;279;p33"/>
          <p:cNvSpPr txBox="1">
            <a:spLocks noGrp="1"/>
          </p:cNvSpPr>
          <p:nvPr>
            <p:ph type="title"/>
          </p:nvPr>
        </p:nvSpPr>
        <p:spPr>
          <a:xfrm>
            <a:off x="1531650" y="445025"/>
            <a:ext cx="60807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/>
                <a:ea typeface="Merriweather Light"/>
                <a:cs typeface="Merriweather Light"/>
                <a:sym typeface="Merriweather Light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/>
                <a:ea typeface="Merriweather Light"/>
                <a:cs typeface="Merriweather Light"/>
                <a:sym typeface="Merriweather Light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/>
                <a:ea typeface="Merriweather Light"/>
                <a:cs typeface="Merriweather Light"/>
                <a:sym typeface="Merriweather Light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/>
                <a:ea typeface="Merriweather Light"/>
                <a:cs typeface="Merriweather Light"/>
                <a:sym typeface="Merriweather Light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/>
                <a:ea typeface="Merriweather Light"/>
                <a:cs typeface="Merriweather Light"/>
                <a:sym typeface="Merriweather Light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/>
                <a:ea typeface="Merriweather Light"/>
                <a:cs typeface="Merriweather Light"/>
                <a:sym typeface="Merriweather Light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/>
                <a:ea typeface="Merriweather Light"/>
                <a:cs typeface="Merriweather Light"/>
                <a:sym typeface="Merriweather Light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/>
                <a:ea typeface="Merriweather Light"/>
                <a:cs typeface="Merriweather Light"/>
                <a:sym typeface="Merriweather Light"/>
              </a:defRPr>
            </a:lvl9pPr>
          </a:lstStyle>
          <a:p>
            <a:endParaRPr/>
          </a:p>
        </p:txBody>
      </p:sp>
      <p:cxnSp>
        <p:nvCxnSpPr>
          <p:cNvPr id="280" name="Google Shape;280;p33"/>
          <p:cNvCxnSpPr/>
          <p:nvPr/>
        </p:nvCxnSpPr>
        <p:spPr>
          <a:xfrm>
            <a:off x="-72550" y="27410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281" name="Google Shape;281;p33"/>
          <p:cNvCxnSpPr/>
          <p:nvPr/>
        </p:nvCxnSpPr>
        <p:spPr>
          <a:xfrm>
            <a:off x="-72550" y="487745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282" name="Google Shape;282;p33"/>
          <p:cNvCxnSpPr/>
          <p:nvPr/>
        </p:nvCxnSpPr>
        <p:spPr>
          <a:xfrm>
            <a:off x="7441150" y="-48375"/>
            <a:ext cx="1926900" cy="1161000"/>
          </a:xfrm>
          <a:prstGeom prst="curvedConnector3">
            <a:avLst>
              <a:gd name="adj1" fmla="val 50000"/>
            </a:avLst>
          </a:prstGeom>
          <a:noFill/>
          <a:ln w="2857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283" name="Google Shape;283;p33"/>
          <p:cNvCxnSpPr/>
          <p:nvPr/>
        </p:nvCxnSpPr>
        <p:spPr>
          <a:xfrm flipH="1">
            <a:off x="7454238" y="4053663"/>
            <a:ext cx="1926900" cy="1161000"/>
          </a:xfrm>
          <a:prstGeom prst="curvedConnector3">
            <a:avLst>
              <a:gd name="adj1" fmla="val 50000"/>
            </a:avLst>
          </a:prstGeom>
          <a:noFill/>
          <a:ln w="2857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3">
  <p:cSld name="CUSTOM_34">
    <p:spTree>
      <p:nvGrpSpPr>
        <p:cNvPr id="1" name="Shape 2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5" name="Google Shape;285;p34"/>
          <p:cNvSpPr txBox="1">
            <a:spLocks noGrp="1"/>
          </p:cNvSpPr>
          <p:nvPr>
            <p:ph type="title"/>
          </p:nvPr>
        </p:nvSpPr>
        <p:spPr>
          <a:xfrm>
            <a:off x="716225" y="1073000"/>
            <a:ext cx="5640600" cy="2856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800"/>
              <a:buNone/>
              <a:defRPr sz="9600"/>
            </a:lvl1pPr>
            <a:lvl2pPr lvl="1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cxnSp>
        <p:nvCxnSpPr>
          <p:cNvPr id="286" name="Google Shape;286;p34"/>
          <p:cNvCxnSpPr/>
          <p:nvPr/>
        </p:nvCxnSpPr>
        <p:spPr>
          <a:xfrm>
            <a:off x="-72550" y="27410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287" name="Google Shape;287;p34"/>
          <p:cNvCxnSpPr/>
          <p:nvPr/>
        </p:nvCxnSpPr>
        <p:spPr>
          <a:xfrm>
            <a:off x="-72550" y="487745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288" name="Google Shape;288;p34"/>
          <p:cNvCxnSpPr/>
          <p:nvPr/>
        </p:nvCxnSpPr>
        <p:spPr>
          <a:xfrm>
            <a:off x="-250225" y="4076450"/>
            <a:ext cx="1926900" cy="1161000"/>
          </a:xfrm>
          <a:prstGeom prst="curvedConnector3">
            <a:avLst>
              <a:gd name="adj1" fmla="val 50000"/>
            </a:avLst>
          </a:prstGeom>
          <a:noFill/>
          <a:ln w="2857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289" name="Google Shape;289;p34"/>
          <p:cNvCxnSpPr/>
          <p:nvPr/>
        </p:nvCxnSpPr>
        <p:spPr>
          <a:xfrm>
            <a:off x="7441150" y="-48375"/>
            <a:ext cx="1926900" cy="1161000"/>
          </a:xfrm>
          <a:prstGeom prst="curvedConnector3">
            <a:avLst>
              <a:gd name="adj1" fmla="val 50000"/>
            </a:avLst>
          </a:prstGeom>
          <a:noFill/>
          <a:ln w="2857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290" name="Google Shape;290;p34"/>
          <p:cNvCxnSpPr/>
          <p:nvPr/>
        </p:nvCxnSpPr>
        <p:spPr>
          <a:xfrm flipH="1">
            <a:off x="7454238" y="4053663"/>
            <a:ext cx="1926900" cy="1161000"/>
          </a:xfrm>
          <a:prstGeom prst="curvedConnector3">
            <a:avLst>
              <a:gd name="adj1" fmla="val 50000"/>
            </a:avLst>
          </a:prstGeom>
          <a:noFill/>
          <a:ln w="2857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291" name="Google Shape;291;p34"/>
          <p:cNvCxnSpPr/>
          <p:nvPr/>
        </p:nvCxnSpPr>
        <p:spPr>
          <a:xfrm flipH="1">
            <a:off x="-237137" y="-71162"/>
            <a:ext cx="1926900" cy="1161000"/>
          </a:xfrm>
          <a:prstGeom prst="curvedConnector3">
            <a:avLst>
              <a:gd name="adj1" fmla="val 50000"/>
            </a:avLst>
          </a:prstGeom>
          <a:noFill/>
          <a:ln w="2857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four columns 1">
  <p:cSld name="CUSTOM_35">
    <p:spTree>
      <p:nvGrpSpPr>
        <p:cNvPr id="1" name="Shape 2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3" name="Google Shape;293;p35"/>
          <p:cNvSpPr txBox="1">
            <a:spLocks noGrp="1"/>
          </p:cNvSpPr>
          <p:nvPr>
            <p:ph type="subTitle" idx="1"/>
          </p:nvPr>
        </p:nvSpPr>
        <p:spPr>
          <a:xfrm>
            <a:off x="4916850" y="1894200"/>
            <a:ext cx="2316000" cy="489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9pPr>
          </a:lstStyle>
          <a:p>
            <a:endParaRPr/>
          </a:p>
        </p:txBody>
      </p:sp>
      <p:sp>
        <p:nvSpPr>
          <p:cNvPr id="294" name="Google Shape;294;p35"/>
          <p:cNvSpPr txBox="1">
            <a:spLocks noGrp="1"/>
          </p:cNvSpPr>
          <p:nvPr>
            <p:ph type="subTitle" idx="2"/>
          </p:nvPr>
        </p:nvSpPr>
        <p:spPr>
          <a:xfrm>
            <a:off x="5058900" y="2296473"/>
            <a:ext cx="20319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5" name="Google Shape;295;p35"/>
          <p:cNvSpPr txBox="1">
            <a:spLocks noGrp="1"/>
          </p:cNvSpPr>
          <p:nvPr>
            <p:ph type="subTitle" idx="3"/>
          </p:nvPr>
        </p:nvSpPr>
        <p:spPr>
          <a:xfrm>
            <a:off x="1911150" y="1894200"/>
            <a:ext cx="2316000" cy="489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9pPr>
          </a:lstStyle>
          <a:p>
            <a:endParaRPr/>
          </a:p>
        </p:txBody>
      </p:sp>
      <p:sp>
        <p:nvSpPr>
          <p:cNvPr id="296" name="Google Shape;296;p35"/>
          <p:cNvSpPr txBox="1">
            <a:spLocks noGrp="1"/>
          </p:cNvSpPr>
          <p:nvPr>
            <p:ph type="subTitle" idx="4"/>
          </p:nvPr>
        </p:nvSpPr>
        <p:spPr>
          <a:xfrm>
            <a:off x="2053300" y="2296473"/>
            <a:ext cx="20319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7" name="Google Shape;297;p35"/>
          <p:cNvSpPr txBox="1">
            <a:spLocks noGrp="1"/>
          </p:cNvSpPr>
          <p:nvPr>
            <p:ph type="subTitle" idx="5"/>
          </p:nvPr>
        </p:nvSpPr>
        <p:spPr>
          <a:xfrm>
            <a:off x="4916850" y="3528902"/>
            <a:ext cx="2316000" cy="489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9pPr>
          </a:lstStyle>
          <a:p>
            <a:endParaRPr/>
          </a:p>
        </p:txBody>
      </p:sp>
      <p:sp>
        <p:nvSpPr>
          <p:cNvPr id="298" name="Google Shape;298;p35"/>
          <p:cNvSpPr txBox="1">
            <a:spLocks noGrp="1"/>
          </p:cNvSpPr>
          <p:nvPr>
            <p:ph type="subTitle" idx="6"/>
          </p:nvPr>
        </p:nvSpPr>
        <p:spPr>
          <a:xfrm>
            <a:off x="5058900" y="3923733"/>
            <a:ext cx="20319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9" name="Google Shape;299;p35"/>
          <p:cNvSpPr txBox="1">
            <a:spLocks noGrp="1"/>
          </p:cNvSpPr>
          <p:nvPr>
            <p:ph type="subTitle" idx="7"/>
          </p:nvPr>
        </p:nvSpPr>
        <p:spPr>
          <a:xfrm>
            <a:off x="1911150" y="3528902"/>
            <a:ext cx="2316000" cy="489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9pPr>
          </a:lstStyle>
          <a:p>
            <a:endParaRPr/>
          </a:p>
        </p:txBody>
      </p:sp>
      <p:sp>
        <p:nvSpPr>
          <p:cNvPr id="300" name="Google Shape;300;p35"/>
          <p:cNvSpPr txBox="1">
            <a:spLocks noGrp="1"/>
          </p:cNvSpPr>
          <p:nvPr>
            <p:ph type="subTitle" idx="8"/>
          </p:nvPr>
        </p:nvSpPr>
        <p:spPr>
          <a:xfrm>
            <a:off x="2053200" y="3923733"/>
            <a:ext cx="20319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1" name="Google Shape;301;p35"/>
          <p:cNvSpPr txBox="1">
            <a:spLocks noGrp="1"/>
          </p:cNvSpPr>
          <p:nvPr>
            <p:ph type="title"/>
          </p:nvPr>
        </p:nvSpPr>
        <p:spPr>
          <a:xfrm>
            <a:off x="713225" y="445025"/>
            <a:ext cx="64803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/>
                <a:ea typeface="Merriweather Light"/>
                <a:cs typeface="Merriweather Light"/>
                <a:sym typeface="Merriweather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/>
                <a:ea typeface="Merriweather Light"/>
                <a:cs typeface="Merriweather Light"/>
                <a:sym typeface="Merriweather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/>
                <a:ea typeface="Merriweather Light"/>
                <a:cs typeface="Merriweather Light"/>
                <a:sym typeface="Merriweather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/>
                <a:ea typeface="Merriweather Light"/>
                <a:cs typeface="Merriweather Light"/>
                <a:sym typeface="Merriweather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/>
                <a:ea typeface="Merriweather Light"/>
                <a:cs typeface="Merriweather Light"/>
                <a:sym typeface="Merriweather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/>
                <a:ea typeface="Merriweather Light"/>
                <a:cs typeface="Merriweather Light"/>
                <a:sym typeface="Merriweather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/>
                <a:ea typeface="Merriweather Light"/>
                <a:cs typeface="Merriweather Light"/>
                <a:sym typeface="Merriweather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/>
                <a:ea typeface="Merriweather Light"/>
                <a:cs typeface="Merriweather Light"/>
                <a:sym typeface="Merriweather Light"/>
              </a:defRPr>
            </a:lvl9pPr>
          </a:lstStyle>
          <a:p>
            <a:endParaRPr/>
          </a:p>
        </p:txBody>
      </p:sp>
      <p:cxnSp>
        <p:nvCxnSpPr>
          <p:cNvPr id="302" name="Google Shape;302;p35"/>
          <p:cNvCxnSpPr/>
          <p:nvPr/>
        </p:nvCxnSpPr>
        <p:spPr>
          <a:xfrm>
            <a:off x="-72550" y="27410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303" name="Google Shape;303;p35"/>
          <p:cNvCxnSpPr/>
          <p:nvPr/>
        </p:nvCxnSpPr>
        <p:spPr>
          <a:xfrm>
            <a:off x="-72550" y="487745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hree columns 1">
  <p:cSld name="CUSTOM_36">
    <p:spTree>
      <p:nvGrpSpPr>
        <p:cNvPr id="1" name="Shape 3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5" name="Google Shape;305;p36"/>
          <p:cNvSpPr txBox="1">
            <a:spLocks noGrp="1"/>
          </p:cNvSpPr>
          <p:nvPr>
            <p:ph type="subTitle" idx="1"/>
          </p:nvPr>
        </p:nvSpPr>
        <p:spPr>
          <a:xfrm>
            <a:off x="3571925" y="2904446"/>
            <a:ext cx="2015400" cy="49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9pPr>
          </a:lstStyle>
          <a:p>
            <a:endParaRPr/>
          </a:p>
        </p:txBody>
      </p:sp>
      <p:sp>
        <p:nvSpPr>
          <p:cNvPr id="306" name="Google Shape;306;p36"/>
          <p:cNvSpPr txBox="1">
            <a:spLocks noGrp="1"/>
          </p:cNvSpPr>
          <p:nvPr>
            <p:ph type="subTitle" idx="2"/>
          </p:nvPr>
        </p:nvSpPr>
        <p:spPr>
          <a:xfrm>
            <a:off x="3571925" y="3306722"/>
            <a:ext cx="20154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dk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7" name="Google Shape;307;p36"/>
          <p:cNvSpPr txBox="1">
            <a:spLocks noGrp="1"/>
          </p:cNvSpPr>
          <p:nvPr>
            <p:ph type="subTitle" idx="3"/>
          </p:nvPr>
        </p:nvSpPr>
        <p:spPr>
          <a:xfrm>
            <a:off x="1088400" y="2904446"/>
            <a:ext cx="2015400" cy="49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9pPr>
          </a:lstStyle>
          <a:p>
            <a:endParaRPr/>
          </a:p>
        </p:txBody>
      </p:sp>
      <p:sp>
        <p:nvSpPr>
          <p:cNvPr id="308" name="Google Shape;308;p36"/>
          <p:cNvSpPr txBox="1">
            <a:spLocks noGrp="1"/>
          </p:cNvSpPr>
          <p:nvPr>
            <p:ph type="subTitle" idx="4"/>
          </p:nvPr>
        </p:nvSpPr>
        <p:spPr>
          <a:xfrm>
            <a:off x="1088400" y="3306722"/>
            <a:ext cx="20154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dk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9" name="Google Shape;309;p36"/>
          <p:cNvSpPr txBox="1">
            <a:spLocks noGrp="1"/>
          </p:cNvSpPr>
          <p:nvPr>
            <p:ph type="subTitle" idx="5"/>
          </p:nvPr>
        </p:nvSpPr>
        <p:spPr>
          <a:xfrm>
            <a:off x="6055450" y="2904446"/>
            <a:ext cx="2015400" cy="49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9pPr>
          </a:lstStyle>
          <a:p>
            <a:endParaRPr/>
          </a:p>
        </p:txBody>
      </p:sp>
      <p:sp>
        <p:nvSpPr>
          <p:cNvPr id="310" name="Google Shape;310;p36"/>
          <p:cNvSpPr txBox="1">
            <a:spLocks noGrp="1"/>
          </p:cNvSpPr>
          <p:nvPr>
            <p:ph type="subTitle" idx="6"/>
          </p:nvPr>
        </p:nvSpPr>
        <p:spPr>
          <a:xfrm>
            <a:off x="6055450" y="3306722"/>
            <a:ext cx="20154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dk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1" name="Google Shape;311;p36"/>
          <p:cNvSpPr txBox="1">
            <a:spLocks noGrp="1"/>
          </p:cNvSpPr>
          <p:nvPr>
            <p:ph type="title"/>
          </p:nvPr>
        </p:nvSpPr>
        <p:spPr>
          <a:xfrm>
            <a:off x="713225" y="445025"/>
            <a:ext cx="5517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/>
                <a:ea typeface="Merriweather Light"/>
                <a:cs typeface="Merriweather Light"/>
                <a:sym typeface="Merriweather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/>
                <a:ea typeface="Merriweather Light"/>
                <a:cs typeface="Merriweather Light"/>
                <a:sym typeface="Merriweather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/>
                <a:ea typeface="Merriweather Light"/>
                <a:cs typeface="Merriweather Light"/>
                <a:sym typeface="Merriweather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/>
                <a:ea typeface="Merriweather Light"/>
                <a:cs typeface="Merriweather Light"/>
                <a:sym typeface="Merriweather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/>
                <a:ea typeface="Merriweather Light"/>
                <a:cs typeface="Merriweather Light"/>
                <a:sym typeface="Merriweather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/>
                <a:ea typeface="Merriweather Light"/>
                <a:cs typeface="Merriweather Light"/>
                <a:sym typeface="Merriweather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/>
                <a:ea typeface="Merriweather Light"/>
                <a:cs typeface="Merriweather Light"/>
                <a:sym typeface="Merriweather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/>
                <a:ea typeface="Merriweather Light"/>
                <a:cs typeface="Merriweather Light"/>
                <a:sym typeface="Merriweather Light"/>
              </a:defRPr>
            </a:lvl9pPr>
          </a:lstStyle>
          <a:p>
            <a:endParaRPr/>
          </a:p>
        </p:txBody>
      </p:sp>
      <p:cxnSp>
        <p:nvCxnSpPr>
          <p:cNvPr id="312" name="Google Shape;312;p36"/>
          <p:cNvCxnSpPr/>
          <p:nvPr/>
        </p:nvCxnSpPr>
        <p:spPr>
          <a:xfrm>
            <a:off x="-72550" y="27410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313" name="Google Shape;313;p36"/>
          <p:cNvCxnSpPr/>
          <p:nvPr/>
        </p:nvCxnSpPr>
        <p:spPr>
          <a:xfrm>
            <a:off x="-72550" y="487745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314" name="Google Shape;314;p36"/>
          <p:cNvCxnSpPr/>
          <p:nvPr/>
        </p:nvCxnSpPr>
        <p:spPr>
          <a:xfrm>
            <a:off x="7434175" y="-125600"/>
            <a:ext cx="1993200" cy="1330200"/>
          </a:xfrm>
          <a:prstGeom prst="curvedConnector3">
            <a:avLst>
              <a:gd name="adj1" fmla="val 50000"/>
            </a:avLst>
          </a:prstGeom>
          <a:noFill/>
          <a:ln w="2857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Numbers and text ">
  <p:cSld name="CUSTOM_23">
    <p:spTree>
      <p:nvGrpSpPr>
        <p:cNvPr id="1" name="Shape 3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16" name="Google Shape;316;p37"/>
          <p:cNvCxnSpPr/>
          <p:nvPr/>
        </p:nvCxnSpPr>
        <p:spPr>
          <a:xfrm>
            <a:off x="-72550" y="27410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317" name="Google Shape;317;p37"/>
          <p:cNvCxnSpPr/>
          <p:nvPr/>
        </p:nvCxnSpPr>
        <p:spPr>
          <a:xfrm>
            <a:off x="-72550" y="487745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318" name="Google Shape;318;p37"/>
          <p:cNvCxnSpPr/>
          <p:nvPr/>
        </p:nvCxnSpPr>
        <p:spPr>
          <a:xfrm>
            <a:off x="-250225" y="4076450"/>
            <a:ext cx="1926900" cy="1161000"/>
          </a:xfrm>
          <a:prstGeom prst="curvedConnector3">
            <a:avLst>
              <a:gd name="adj1" fmla="val 50000"/>
            </a:avLst>
          </a:prstGeom>
          <a:noFill/>
          <a:ln w="2857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319" name="Google Shape;319;p37"/>
          <p:cNvCxnSpPr/>
          <p:nvPr/>
        </p:nvCxnSpPr>
        <p:spPr>
          <a:xfrm>
            <a:off x="7441150" y="-48375"/>
            <a:ext cx="1926900" cy="1161000"/>
          </a:xfrm>
          <a:prstGeom prst="curvedConnector3">
            <a:avLst>
              <a:gd name="adj1" fmla="val 50000"/>
            </a:avLst>
          </a:prstGeom>
          <a:noFill/>
          <a:ln w="2857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320" name="Google Shape;320;p37"/>
          <p:cNvCxnSpPr/>
          <p:nvPr/>
        </p:nvCxnSpPr>
        <p:spPr>
          <a:xfrm flipH="1">
            <a:off x="7454238" y="4053663"/>
            <a:ext cx="1926900" cy="1161000"/>
          </a:xfrm>
          <a:prstGeom prst="curvedConnector3">
            <a:avLst>
              <a:gd name="adj1" fmla="val 50000"/>
            </a:avLst>
          </a:prstGeom>
          <a:noFill/>
          <a:ln w="2857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321" name="Google Shape;321;p37"/>
          <p:cNvCxnSpPr/>
          <p:nvPr/>
        </p:nvCxnSpPr>
        <p:spPr>
          <a:xfrm flipH="1">
            <a:off x="-237137" y="-71162"/>
            <a:ext cx="1926900" cy="1161000"/>
          </a:xfrm>
          <a:prstGeom prst="curvedConnector3">
            <a:avLst>
              <a:gd name="adj1" fmla="val 50000"/>
            </a:avLst>
          </a:prstGeom>
          <a:noFill/>
          <a:ln w="2857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322" name="Google Shape;322;p37"/>
          <p:cNvSpPr txBox="1">
            <a:spLocks noGrp="1"/>
          </p:cNvSpPr>
          <p:nvPr>
            <p:ph type="title"/>
          </p:nvPr>
        </p:nvSpPr>
        <p:spPr>
          <a:xfrm>
            <a:off x="2780100" y="445025"/>
            <a:ext cx="35838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9pPr>
          </a:lstStyle>
          <a:p>
            <a:endParaRPr/>
          </a:p>
        </p:txBody>
      </p:sp>
      <p:sp>
        <p:nvSpPr>
          <p:cNvPr id="323" name="Google Shape;323;p37"/>
          <p:cNvSpPr txBox="1">
            <a:spLocks noGrp="1"/>
          </p:cNvSpPr>
          <p:nvPr>
            <p:ph type="subTitle" idx="1"/>
          </p:nvPr>
        </p:nvSpPr>
        <p:spPr>
          <a:xfrm>
            <a:off x="5306650" y="1710190"/>
            <a:ext cx="2486100" cy="401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400">
                <a:latin typeface="Vidaloka"/>
                <a:ea typeface="Vidaloka"/>
                <a:cs typeface="Vidaloka"/>
                <a:sym typeface="Vidaloka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100"/>
              <a:buNone/>
              <a:defRPr sz="2100" b="1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100"/>
              <a:buNone/>
              <a:defRPr sz="2100" b="1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100"/>
              <a:buNone/>
              <a:defRPr sz="2100" b="1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100"/>
              <a:buNone/>
              <a:defRPr sz="2100" b="1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100"/>
              <a:buNone/>
              <a:defRPr sz="2100" b="1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100"/>
              <a:buNone/>
              <a:defRPr sz="2100" b="1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100"/>
              <a:buNone/>
              <a:defRPr sz="2100" b="1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100"/>
              <a:buNone/>
              <a:defRPr sz="2100" b="1"/>
            </a:lvl9pPr>
          </a:lstStyle>
          <a:p>
            <a:endParaRPr/>
          </a:p>
        </p:txBody>
      </p:sp>
      <p:sp>
        <p:nvSpPr>
          <p:cNvPr id="324" name="Google Shape;324;p37"/>
          <p:cNvSpPr txBox="1">
            <a:spLocks noGrp="1"/>
          </p:cNvSpPr>
          <p:nvPr>
            <p:ph type="subTitle" idx="2"/>
          </p:nvPr>
        </p:nvSpPr>
        <p:spPr>
          <a:xfrm>
            <a:off x="5306650" y="2111217"/>
            <a:ext cx="2486100" cy="618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dk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5" name="Google Shape;325;p37"/>
          <p:cNvSpPr txBox="1">
            <a:spLocks noGrp="1"/>
          </p:cNvSpPr>
          <p:nvPr>
            <p:ph type="subTitle" idx="3"/>
          </p:nvPr>
        </p:nvSpPr>
        <p:spPr>
          <a:xfrm>
            <a:off x="1351250" y="1710190"/>
            <a:ext cx="2486100" cy="401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400">
                <a:latin typeface="Vidaloka"/>
                <a:ea typeface="Vidaloka"/>
                <a:cs typeface="Vidaloka"/>
                <a:sym typeface="Vidaloka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100"/>
              <a:buNone/>
              <a:defRPr sz="2100" b="1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100"/>
              <a:buNone/>
              <a:defRPr sz="2100" b="1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100"/>
              <a:buNone/>
              <a:defRPr sz="2100" b="1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100"/>
              <a:buNone/>
              <a:defRPr sz="2100" b="1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100"/>
              <a:buNone/>
              <a:defRPr sz="2100" b="1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100"/>
              <a:buNone/>
              <a:defRPr sz="2100" b="1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100"/>
              <a:buNone/>
              <a:defRPr sz="2100" b="1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100"/>
              <a:buNone/>
              <a:defRPr sz="2100" b="1"/>
            </a:lvl9pPr>
          </a:lstStyle>
          <a:p>
            <a:endParaRPr/>
          </a:p>
        </p:txBody>
      </p:sp>
      <p:sp>
        <p:nvSpPr>
          <p:cNvPr id="326" name="Google Shape;326;p37"/>
          <p:cNvSpPr txBox="1">
            <a:spLocks noGrp="1"/>
          </p:cNvSpPr>
          <p:nvPr>
            <p:ph type="subTitle" idx="4"/>
          </p:nvPr>
        </p:nvSpPr>
        <p:spPr>
          <a:xfrm>
            <a:off x="1351250" y="2111217"/>
            <a:ext cx="2486100" cy="618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7" name="Google Shape;327;p37"/>
          <p:cNvSpPr txBox="1">
            <a:spLocks noGrp="1"/>
          </p:cNvSpPr>
          <p:nvPr>
            <p:ph type="subTitle" idx="5"/>
          </p:nvPr>
        </p:nvSpPr>
        <p:spPr>
          <a:xfrm>
            <a:off x="5306650" y="3552118"/>
            <a:ext cx="2486100" cy="461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400">
                <a:latin typeface="Vidaloka"/>
                <a:ea typeface="Vidaloka"/>
                <a:cs typeface="Vidaloka"/>
                <a:sym typeface="Vidaloka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100"/>
              <a:buNone/>
              <a:defRPr sz="2100" b="1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100"/>
              <a:buNone/>
              <a:defRPr sz="2100" b="1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100"/>
              <a:buNone/>
              <a:defRPr sz="2100" b="1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100"/>
              <a:buNone/>
              <a:defRPr sz="2100" b="1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100"/>
              <a:buNone/>
              <a:defRPr sz="2100" b="1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100"/>
              <a:buNone/>
              <a:defRPr sz="2100" b="1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100"/>
              <a:buNone/>
              <a:defRPr sz="2100" b="1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100"/>
              <a:buNone/>
              <a:defRPr sz="2100" b="1"/>
            </a:lvl9pPr>
          </a:lstStyle>
          <a:p>
            <a:endParaRPr/>
          </a:p>
        </p:txBody>
      </p:sp>
      <p:sp>
        <p:nvSpPr>
          <p:cNvPr id="328" name="Google Shape;328;p37"/>
          <p:cNvSpPr txBox="1">
            <a:spLocks noGrp="1"/>
          </p:cNvSpPr>
          <p:nvPr>
            <p:ph type="subTitle" idx="6"/>
          </p:nvPr>
        </p:nvSpPr>
        <p:spPr>
          <a:xfrm>
            <a:off x="5306650" y="3946487"/>
            <a:ext cx="2486100" cy="618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dk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9" name="Google Shape;329;p37"/>
          <p:cNvSpPr txBox="1">
            <a:spLocks noGrp="1"/>
          </p:cNvSpPr>
          <p:nvPr>
            <p:ph type="subTitle" idx="7"/>
          </p:nvPr>
        </p:nvSpPr>
        <p:spPr>
          <a:xfrm>
            <a:off x="1351250" y="3552118"/>
            <a:ext cx="2486100" cy="461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400">
                <a:latin typeface="Vidaloka"/>
                <a:ea typeface="Vidaloka"/>
                <a:cs typeface="Vidaloka"/>
                <a:sym typeface="Vidaloka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100"/>
              <a:buNone/>
              <a:defRPr sz="2100" b="1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100"/>
              <a:buNone/>
              <a:defRPr sz="2100" b="1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100"/>
              <a:buNone/>
              <a:defRPr sz="2100" b="1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100"/>
              <a:buNone/>
              <a:defRPr sz="2100" b="1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100"/>
              <a:buNone/>
              <a:defRPr sz="2100" b="1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100"/>
              <a:buNone/>
              <a:defRPr sz="2100" b="1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100"/>
              <a:buNone/>
              <a:defRPr sz="2100" b="1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100"/>
              <a:buNone/>
              <a:defRPr sz="2100" b="1"/>
            </a:lvl9pPr>
          </a:lstStyle>
          <a:p>
            <a:endParaRPr/>
          </a:p>
        </p:txBody>
      </p:sp>
      <p:sp>
        <p:nvSpPr>
          <p:cNvPr id="330" name="Google Shape;330;p37"/>
          <p:cNvSpPr txBox="1">
            <a:spLocks noGrp="1"/>
          </p:cNvSpPr>
          <p:nvPr>
            <p:ph type="subTitle" idx="8"/>
          </p:nvPr>
        </p:nvSpPr>
        <p:spPr>
          <a:xfrm>
            <a:off x="1351300" y="3946487"/>
            <a:ext cx="2486100" cy="618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dk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1" name="Google Shape;331;p37"/>
          <p:cNvSpPr txBox="1">
            <a:spLocks noGrp="1"/>
          </p:cNvSpPr>
          <p:nvPr>
            <p:ph type="title" idx="9" hasCustomPrompt="1"/>
          </p:nvPr>
        </p:nvSpPr>
        <p:spPr>
          <a:xfrm>
            <a:off x="1351250" y="1131425"/>
            <a:ext cx="2486100" cy="667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000"/>
              <a:buNone/>
              <a:defRPr sz="38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000"/>
              <a:buNone/>
              <a:defRPr sz="4000">
                <a:solidFill>
                  <a:schemeClr val="dk2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000"/>
              <a:buNone/>
              <a:defRPr sz="4000">
                <a:solidFill>
                  <a:schemeClr val="dk2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000"/>
              <a:buNone/>
              <a:defRPr sz="4000">
                <a:solidFill>
                  <a:schemeClr val="dk2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000"/>
              <a:buNone/>
              <a:defRPr sz="4000">
                <a:solidFill>
                  <a:schemeClr val="dk2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000"/>
              <a:buNone/>
              <a:defRPr sz="4000">
                <a:solidFill>
                  <a:schemeClr val="dk2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000"/>
              <a:buNone/>
              <a:defRPr sz="4000">
                <a:solidFill>
                  <a:schemeClr val="dk2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000"/>
              <a:buNone/>
              <a:defRPr sz="4000">
                <a:solidFill>
                  <a:schemeClr val="dk2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000"/>
              <a:buNone/>
              <a:defRPr sz="4000">
                <a:solidFill>
                  <a:schemeClr val="dk2"/>
                </a:solidFill>
              </a:defRPr>
            </a:lvl9pPr>
          </a:lstStyle>
          <a:p>
            <a:r>
              <a:t>xx%</a:t>
            </a:r>
          </a:p>
        </p:txBody>
      </p:sp>
      <p:sp>
        <p:nvSpPr>
          <p:cNvPr id="332" name="Google Shape;332;p37"/>
          <p:cNvSpPr txBox="1">
            <a:spLocks noGrp="1"/>
          </p:cNvSpPr>
          <p:nvPr>
            <p:ph type="title" idx="13" hasCustomPrompt="1"/>
          </p:nvPr>
        </p:nvSpPr>
        <p:spPr>
          <a:xfrm>
            <a:off x="5306650" y="1131425"/>
            <a:ext cx="2486100" cy="667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000"/>
              <a:buNone/>
              <a:defRPr sz="38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000"/>
              <a:buNone/>
              <a:defRPr sz="4000">
                <a:solidFill>
                  <a:schemeClr val="dk2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000"/>
              <a:buNone/>
              <a:defRPr sz="4000">
                <a:solidFill>
                  <a:schemeClr val="dk2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000"/>
              <a:buNone/>
              <a:defRPr sz="4000">
                <a:solidFill>
                  <a:schemeClr val="dk2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000"/>
              <a:buNone/>
              <a:defRPr sz="4000">
                <a:solidFill>
                  <a:schemeClr val="dk2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000"/>
              <a:buNone/>
              <a:defRPr sz="4000">
                <a:solidFill>
                  <a:schemeClr val="dk2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000"/>
              <a:buNone/>
              <a:defRPr sz="4000">
                <a:solidFill>
                  <a:schemeClr val="dk2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000"/>
              <a:buNone/>
              <a:defRPr sz="4000">
                <a:solidFill>
                  <a:schemeClr val="dk2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000"/>
              <a:buNone/>
              <a:defRPr sz="4000">
                <a:solidFill>
                  <a:schemeClr val="dk2"/>
                </a:solidFill>
              </a:defRPr>
            </a:lvl9pPr>
          </a:lstStyle>
          <a:p>
            <a:r>
              <a:t>xx%</a:t>
            </a:r>
          </a:p>
        </p:txBody>
      </p:sp>
      <p:sp>
        <p:nvSpPr>
          <p:cNvPr id="333" name="Google Shape;333;p37"/>
          <p:cNvSpPr txBox="1">
            <a:spLocks noGrp="1"/>
          </p:cNvSpPr>
          <p:nvPr>
            <p:ph type="title" idx="14" hasCustomPrompt="1"/>
          </p:nvPr>
        </p:nvSpPr>
        <p:spPr>
          <a:xfrm>
            <a:off x="1351300" y="2964563"/>
            <a:ext cx="2486100" cy="667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000"/>
              <a:buNone/>
              <a:defRPr sz="38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000"/>
              <a:buNone/>
              <a:defRPr sz="4000">
                <a:solidFill>
                  <a:schemeClr val="dk2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000"/>
              <a:buNone/>
              <a:defRPr sz="4000">
                <a:solidFill>
                  <a:schemeClr val="dk2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000"/>
              <a:buNone/>
              <a:defRPr sz="4000">
                <a:solidFill>
                  <a:schemeClr val="dk2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000"/>
              <a:buNone/>
              <a:defRPr sz="4000">
                <a:solidFill>
                  <a:schemeClr val="dk2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000"/>
              <a:buNone/>
              <a:defRPr sz="4000">
                <a:solidFill>
                  <a:schemeClr val="dk2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000"/>
              <a:buNone/>
              <a:defRPr sz="4000">
                <a:solidFill>
                  <a:schemeClr val="dk2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000"/>
              <a:buNone/>
              <a:defRPr sz="4000">
                <a:solidFill>
                  <a:schemeClr val="dk2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000"/>
              <a:buNone/>
              <a:defRPr sz="4000">
                <a:solidFill>
                  <a:schemeClr val="dk2"/>
                </a:solidFill>
              </a:defRPr>
            </a:lvl9pPr>
          </a:lstStyle>
          <a:p>
            <a:r>
              <a:t>xx%</a:t>
            </a:r>
          </a:p>
        </p:txBody>
      </p:sp>
      <p:sp>
        <p:nvSpPr>
          <p:cNvPr id="334" name="Google Shape;334;p37"/>
          <p:cNvSpPr txBox="1">
            <a:spLocks noGrp="1"/>
          </p:cNvSpPr>
          <p:nvPr>
            <p:ph type="title" idx="15" hasCustomPrompt="1"/>
          </p:nvPr>
        </p:nvSpPr>
        <p:spPr>
          <a:xfrm>
            <a:off x="5306650" y="2964563"/>
            <a:ext cx="2486100" cy="667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000"/>
              <a:buNone/>
              <a:defRPr sz="38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000"/>
              <a:buNone/>
              <a:defRPr sz="4000">
                <a:solidFill>
                  <a:schemeClr val="dk2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000"/>
              <a:buNone/>
              <a:defRPr sz="4000">
                <a:solidFill>
                  <a:schemeClr val="dk2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000"/>
              <a:buNone/>
              <a:defRPr sz="4000">
                <a:solidFill>
                  <a:schemeClr val="dk2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000"/>
              <a:buNone/>
              <a:defRPr sz="4000">
                <a:solidFill>
                  <a:schemeClr val="dk2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000"/>
              <a:buNone/>
              <a:defRPr sz="4000">
                <a:solidFill>
                  <a:schemeClr val="dk2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000"/>
              <a:buNone/>
              <a:defRPr sz="4000">
                <a:solidFill>
                  <a:schemeClr val="dk2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000"/>
              <a:buNone/>
              <a:defRPr sz="4000">
                <a:solidFill>
                  <a:schemeClr val="dk2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000"/>
              <a:buNone/>
              <a:defRPr sz="4000">
                <a:solidFill>
                  <a:schemeClr val="dk2"/>
                </a:solidFill>
              </a:defRPr>
            </a:lvl9pPr>
          </a:lstStyle>
          <a:p>
            <a:r>
              <a:t>xx%</a:t>
            </a:r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hree columns 2">
  <p:cSld name="CUSTOM_4_2_1">
    <p:spTree>
      <p:nvGrpSpPr>
        <p:cNvPr id="1" name="Shape 3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6" name="Google Shape;336;p38"/>
          <p:cNvSpPr txBox="1">
            <a:spLocks noGrp="1"/>
          </p:cNvSpPr>
          <p:nvPr>
            <p:ph type="subTitle" idx="1"/>
          </p:nvPr>
        </p:nvSpPr>
        <p:spPr>
          <a:xfrm>
            <a:off x="3718325" y="3294199"/>
            <a:ext cx="1642800" cy="437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9pPr>
          </a:lstStyle>
          <a:p>
            <a:endParaRPr/>
          </a:p>
        </p:txBody>
      </p:sp>
      <p:sp>
        <p:nvSpPr>
          <p:cNvPr id="337" name="Google Shape;337;p38"/>
          <p:cNvSpPr txBox="1">
            <a:spLocks noGrp="1"/>
          </p:cNvSpPr>
          <p:nvPr>
            <p:ph type="subTitle" idx="2"/>
          </p:nvPr>
        </p:nvSpPr>
        <p:spPr>
          <a:xfrm>
            <a:off x="3617675" y="3703897"/>
            <a:ext cx="18441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solidFill>
                  <a:schemeClr val="dk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9pPr>
          </a:lstStyle>
          <a:p>
            <a:endParaRPr/>
          </a:p>
        </p:txBody>
      </p:sp>
      <p:sp>
        <p:nvSpPr>
          <p:cNvPr id="338" name="Google Shape;338;p38"/>
          <p:cNvSpPr txBox="1">
            <a:spLocks noGrp="1"/>
          </p:cNvSpPr>
          <p:nvPr>
            <p:ph type="subTitle" idx="3"/>
          </p:nvPr>
        </p:nvSpPr>
        <p:spPr>
          <a:xfrm>
            <a:off x="1328025" y="3294199"/>
            <a:ext cx="1642800" cy="437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9pPr>
          </a:lstStyle>
          <a:p>
            <a:endParaRPr/>
          </a:p>
        </p:txBody>
      </p:sp>
      <p:sp>
        <p:nvSpPr>
          <p:cNvPr id="339" name="Google Shape;339;p38"/>
          <p:cNvSpPr txBox="1">
            <a:spLocks noGrp="1"/>
          </p:cNvSpPr>
          <p:nvPr>
            <p:ph type="subTitle" idx="4"/>
          </p:nvPr>
        </p:nvSpPr>
        <p:spPr>
          <a:xfrm>
            <a:off x="1227426" y="3703897"/>
            <a:ext cx="18441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solidFill>
                  <a:schemeClr val="dk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9pPr>
          </a:lstStyle>
          <a:p>
            <a:endParaRPr/>
          </a:p>
        </p:txBody>
      </p:sp>
      <p:sp>
        <p:nvSpPr>
          <p:cNvPr id="340" name="Google Shape;340;p38"/>
          <p:cNvSpPr txBox="1">
            <a:spLocks noGrp="1"/>
          </p:cNvSpPr>
          <p:nvPr>
            <p:ph type="subTitle" idx="5"/>
          </p:nvPr>
        </p:nvSpPr>
        <p:spPr>
          <a:xfrm>
            <a:off x="6108550" y="3294199"/>
            <a:ext cx="1643100" cy="437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9pPr>
          </a:lstStyle>
          <a:p>
            <a:endParaRPr/>
          </a:p>
        </p:txBody>
      </p:sp>
      <p:sp>
        <p:nvSpPr>
          <p:cNvPr id="341" name="Google Shape;341;p38"/>
          <p:cNvSpPr txBox="1">
            <a:spLocks noGrp="1"/>
          </p:cNvSpPr>
          <p:nvPr>
            <p:ph type="subTitle" idx="6"/>
          </p:nvPr>
        </p:nvSpPr>
        <p:spPr>
          <a:xfrm>
            <a:off x="6008050" y="3703897"/>
            <a:ext cx="18441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solidFill>
                  <a:schemeClr val="dk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9pPr>
          </a:lstStyle>
          <a:p>
            <a:endParaRPr/>
          </a:p>
        </p:txBody>
      </p:sp>
      <p:sp>
        <p:nvSpPr>
          <p:cNvPr id="342" name="Google Shape;342;p38"/>
          <p:cNvSpPr txBox="1">
            <a:spLocks noGrp="1"/>
          </p:cNvSpPr>
          <p:nvPr>
            <p:ph type="title"/>
          </p:nvPr>
        </p:nvSpPr>
        <p:spPr>
          <a:xfrm>
            <a:off x="713225" y="445025"/>
            <a:ext cx="31887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/>
                <a:ea typeface="Merriweather Light"/>
                <a:cs typeface="Merriweather Light"/>
                <a:sym typeface="Merriweather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/>
                <a:ea typeface="Merriweather Light"/>
                <a:cs typeface="Merriweather Light"/>
                <a:sym typeface="Merriweather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/>
                <a:ea typeface="Merriweather Light"/>
                <a:cs typeface="Merriweather Light"/>
                <a:sym typeface="Merriweather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/>
                <a:ea typeface="Merriweather Light"/>
                <a:cs typeface="Merriweather Light"/>
                <a:sym typeface="Merriweather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/>
                <a:ea typeface="Merriweather Light"/>
                <a:cs typeface="Merriweather Light"/>
                <a:sym typeface="Merriweather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/>
                <a:ea typeface="Merriweather Light"/>
                <a:cs typeface="Merriweather Light"/>
                <a:sym typeface="Merriweather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/>
                <a:ea typeface="Merriweather Light"/>
                <a:cs typeface="Merriweather Light"/>
                <a:sym typeface="Merriweather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/>
                <a:ea typeface="Merriweather Light"/>
                <a:cs typeface="Merriweather Light"/>
                <a:sym typeface="Merriweather Light"/>
              </a:defRPr>
            </a:lvl9pPr>
          </a:lstStyle>
          <a:p>
            <a:endParaRPr/>
          </a:p>
        </p:txBody>
      </p:sp>
      <p:cxnSp>
        <p:nvCxnSpPr>
          <p:cNvPr id="343" name="Google Shape;343;p38"/>
          <p:cNvCxnSpPr/>
          <p:nvPr/>
        </p:nvCxnSpPr>
        <p:spPr>
          <a:xfrm>
            <a:off x="-72550" y="27410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344" name="Google Shape;344;p38"/>
          <p:cNvCxnSpPr/>
          <p:nvPr/>
        </p:nvCxnSpPr>
        <p:spPr>
          <a:xfrm>
            <a:off x="-72550" y="487745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four columns 3">
  <p:cSld name="CUSTOM_5">
    <p:spTree>
      <p:nvGrpSpPr>
        <p:cNvPr id="1" name="Shape 3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6" name="Google Shape;346;p39"/>
          <p:cNvSpPr txBox="1">
            <a:spLocks noGrp="1"/>
          </p:cNvSpPr>
          <p:nvPr>
            <p:ph type="subTitle" idx="1"/>
          </p:nvPr>
        </p:nvSpPr>
        <p:spPr>
          <a:xfrm>
            <a:off x="4750175" y="1632746"/>
            <a:ext cx="2014800" cy="499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9pPr>
          </a:lstStyle>
          <a:p>
            <a:endParaRPr/>
          </a:p>
        </p:txBody>
      </p:sp>
      <p:sp>
        <p:nvSpPr>
          <p:cNvPr id="347" name="Google Shape;347;p39"/>
          <p:cNvSpPr txBox="1">
            <a:spLocks noGrp="1"/>
          </p:cNvSpPr>
          <p:nvPr>
            <p:ph type="subTitle" idx="2"/>
          </p:nvPr>
        </p:nvSpPr>
        <p:spPr>
          <a:xfrm>
            <a:off x="4750184" y="2035022"/>
            <a:ext cx="20148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8" name="Google Shape;348;p39"/>
          <p:cNvSpPr txBox="1">
            <a:spLocks noGrp="1"/>
          </p:cNvSpPr>
          <p:nvPr>
            <p:ph type="subTitle" idx="3"/>
          </p:nvPr>
        </p:nvSpPr>
        <p:spPr>
          <a:xfrm>
            <a:off x="2306450" y="1632746"/>
            <a:ext cx="2014800" cy="499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9pPr>
          </a:lstStyle>
          <a:p>
            <a:endParaRPr/>
          </a:p>
        </p:txBody>
      </p:sp>
      <p:sp>
        <p:nvSpPr>
          <p:cNvPr id="349" name="Google Shape;349;p39"/>
          <p:cNvSpPr txBox="1">
            <a:spLocks noGrp="1"/>
          </p:cNvSpPr>
          <p:nvPr>
            <p:ph type="subTitle" idx="4"/>
          </p:nvPr>
        </p:nvSpPr>
        <p:spPr>
          <a:xfrm>
            <a:off x="2306462" y="2035022"/>
            <a:ext cx="20148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0" name="Google Shape;350;p39"/>
          <p:cNvSpPr txBox="1">
            <a:spLocks noGrp="1"/>
          </p:cNvSpPr>
          <p:nvPr>
            <p:ph type="subTitle" idx="5"/>
          </p:nvPr>
        </p:nvSpPr>
        <p:spPr>
          <a:xfrm>
            <a:off x="4750175" y="3062273"/>
            <a:ext cx="2014800" cy="499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9pPr>
          </a:lstStyle>
          <a:p>
            <a:endParaRPr/>
          </a:p>
        </p:txBody>
      </p:sp>
      <p:sp>
        <p:nvSpPr>
          <p:cNvPr id="351" name="Google Shape;351;p39"/>
          <p:cNvSpPr txBox="1">
            <a:spLocks noGrp="1"/>
          </p:cNvSpPr>
          <p:nvPr>
            <p:ph type="subTitle" idx="6"/>
          </p:nvPr>
        </p:nvSpPr>
        <p:spPr>
          <a:xfrm>
            <a:off x="4750184" y="3471047"/>
            <a:ext cx="20148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2" name="Google Shape;352;p39"/>
          <p:cNvSpPr txBox="1">
            <a:spLocks noGrp="1"/>
          </p:cNvSpPr>
          <p:nvPr>
            <p:ph type="subTitle" idx="7"/>
          </p:nvPr>
        </p:nvSpPr>
        <p:spPr>
          <a:xfrm>
            <a:off x="2306450" y="3062273"/>
            <a:ext cx="2014800" cy="499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9pPr>
          </a:lstStyle>
          <a:p>
            <a:endParaRPr/>
          </a:p>
        </p:txBody>
      </p:sp>
      <p:sp>
        <p:nvSpPr>
          <p:cNvPr id="353" name="Google Shape;353;p39"/>
          <p:cNvSpPr txBox="1">
            <a:spLocks noGrp="1"/>
          </p:cNvSpPr>
          <p:nvPr>
            <p:ph type="subTitle" idx="8"/>
          </p:nvPr>
        </p:nvSpPr>
        <p:spPr>
          <a:xfrm>
            <a:off x="2306462" y="3471047"/>
            <a:ext cx="20148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4" name="Google Shape;354;p39"/>
          <p:cNvSpPr txBox="1">
            <a:spLocks noGrp="1"/>
          </p:cNvSpPr>
          <p:nvPr>
            <p:ph type="title"/>
          </p:nvPr>
        </p:nvSpPr>
        <p:spPr>
          <a:xfrm>
            <a:off x="713225" y="445025"/>
            <a:ext cx="27858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/>
                <a:ea typeface="Merriweather Light"/>
                <a:cs typeface="Merriweather Light"/>
                <a:sym typeface="Merriweather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/>
                <a:ea typeface="Merriweather Light"/>
                <a:cs typeface="Merriweather Light"/>
                <a:sym typeface="Merriweather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/>
                <a:ea typeface="Merriweather Light"/>
                <a:cs typeface="Merriweather Light"/>
                <a:sym typeface="Merriweather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/>
                <a:ea typeface="Merriweather Light"/>
                <a:cs typeface="Merriweather Light"/>
                <a:sym typeface="Merriweather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/>
                <a:ea typeface="Merriweather Light"/>
                <a:cs typeface="Merriweather Light"/>
                <a:sym typeface="Merriweather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/>
                <a:ea typeface="Merriweather Light"/>
                <a:cs typeface="Merriweather Light"/>
                <a:sym typeface="Merriweather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/>
                <a:ea typeface="Merriweather Light"/>
                <a:cs typeface="Merriweather Light"/>
                <a:sym typeface="Merriweather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/>
                <a:ea typeface="Merriweather Light"/>
                <a:cs typeface="Merriweather Light"/>
                <a:sym typeface="Merriweather Light"/>
              </a:defRPr>
            </a:lvl9pPr>
          </a:lstStyle>
          <a:p>
            <a:endParaRPr/>
          </a:p>
        </p:txBody>
      </p:sp>
      <p:cxnSp>
        <p:nvCxnSpPr>
          <p:cNvPr id="355" name="Google Shape;355;p39"/>
          <p:cNvCxnSpPr/>
          <p:nvPr/>
        </p:nvCxnSpPr>
        <p:spPr>
          <a:xfrm>
            <a:off x="-72550" y="27410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356" name="Google Shape;356;p39"/>
          <p:cNvCxnSpPr/>
          <p:nvPr/>
        </p:nvCxnSpPr>
        <p:spPr>
          <a:xfrm>
            <a:off x="-72550" y="487745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hree columns 3">
  <p:cSld name="CUSTOM_26">
    <p:spTree>
      <p:nvGrpSpPr>
        <p:cNvPr id="1" name="Shape 3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58" name="Google Shape;358;p40"/>
          <p:cNvCxnSpPr/>
          <p:nvPr/>
        </p:nvCxnSpPr>
        <p:spPr>
          <a:xfrm>
            <a:off x="-72550" y="27410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359" name="Google Shape;359;p40"/>
          <p:cNvCxnSpPr/>
          <p:nvPr/>
        </p:nvCxnSpPr>
        <p:spPr>
          <a:xfrm>
            <a:off x="-72550" y="487745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360" name="Google Shape;360;p40"/>
          <p:cNvCxnSpPr/>
          <p:nvPr/>
        </p:nvCxnSpPr>
        <p:spPr>
          <a:xfrm>
            <a:off x="-250225" y="4076450"/>
            <a:ext cx="1926900" cy="1161000"/>
          </a:xfrm>
          <a:prstGeom prst="curvedConnector3">
            <a:avLst>
              <a:gd name="adj1" fmla="val 50000"/>
            </a:avLst>
          </a:prstGeom>
          <a:noFill/>
          <a:ln w="2857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361" name="Google Shape;361;p40"/>
          <p:cNvCxnSpPr/>
          <p:nvPr/>
        </p:nvCxnSpPr>
        <p:spPr>
          <a:xfrm>
            <a:off x="7441150" y="-48375"/>
            <a:ext cx="1926900" cy="1161000"/>
          </a:xfrm>
          <a:prstGeom prst="curvedConnector3">
            <a:avLst>
              <a:gd name="adj1" fmla="val 50000"/>
            </a:avLst>
          </a:prstGeom>
          <a:noFill/>
          <a:ln w="2857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362" name="Google Shape;362;p40"/>
          <p:cNvCxnSpPr/>
          <p:nvPr/>
        </p:nvCxnSpPr>
        <p:spPr>
          <a:xfrm flipH="1">
            <a:off x="7454238" y="4053663"/>
            <a:ext cx="1926900" cy="1161000"/>
          </a:xfrm>
          <a:prstGeom prst="curvedConnector3">
            <a:avLst>
              <a:gd name="adj1" fmla="val 50000"/>
            </a:avLst>
          </a:prstGeom>
          <a:noFill/>
          <a:ln w="2857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363" name="Google Shape;363;p40"/>
          <p:cNvCxnSpPr/>
          <p:nvPr/>
        </p:nvCxnSpPr>
        <p:spPr>
          <a:xfrm flipH="1">
            <a:off x="-237137" y="-71162"/>
            <a:ext cx="1926900" cy="1161000"/>
          </a:xfrm>
          <a:prstGeom prst="curvedConnector3">
            <a:avLst>
              <a:gd name="adj1" fmla="val 50000"/>
            </a:avLst>
          </a:prstGeom>
          <a:noFill/>
          <a:ln w="2857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364" name="Google Shape;364;p40"/>
          <p:cNvSpPr txBox="1">
            <a:spLocks noGrp="1"/>
          </p:cNvSpPr>
          <p:nvPr>
            <p:ph type="subTitle" idx="1"/>
          </p:nvPr>
        </p:nvSpPr>
        <p:spPr>
          <a:xfrm>
            <a:off x="728750" y="1112872"/>
            <a:ext cx="2014800" cy="499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9pPr>
          </a:lstStyle>
          <a:p>
            <a:endParaRPr/>
          </a:p>
        </p:txBody>
      </p:sp>
      <p:sp>
        <p:nvSpPr>
          <p:cNvPr id="365" name="Google Shape;365;p40"/>
          <p:cNvSpPr txBox="1">
            <a:spLocks noGrp="1"/>
          </p:cNvSpPr>
          <p:nvPr>
            <p:ph type="subTitle" idx="2"/>
          </p:nvPr>
        </p:nvSpPr>
        <p:spPr>
          <a:xfrm>
            <a:off x="728762" y="1515149"/>
            <a:ext cx="20148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dk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6" name="Google Shape;366;p40"/>
          <p:cNvSpPr txBox="1">
            <a:spLocks noGrp="1"/>
          </p:cNvSpPr>
          <p:nvPr>
            <p:ph type="subTitle" idx="3"/>
          </p:nvPr>
        </p:nvSpPr>
        <p:spPr>
          <a:xfrm>
            <a:off x="728750" y="2036386"/>
            <a:ext cx="2014800" cy="499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9pPr>
          </a:lstStyle>
          <a:p>
            <a:endParaRPr/>
          </a:p>
        </p:txBody>
      </p:sp>
      <p:sp>
        <p:nvSpPr>
          <p:cNvPr id="367" name="Google Shape;367;p40"/>
          <p:cNvSpPr txBox="1">
            <a:spLocks noGrp="1"/>
          </p:cNvSpPr>
          <p:nvPr>
            <p:ph type="subTitle" idx="4"/>
          </p:nvPr>
        </p:nvSpPr>
        <p:spPr>
          <a:xfrm>
            <a:off x="728762" y="2445160"/>
            <a:ext cx="20148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8" name="Google Shape;368;p40"/>
          <p:cNvSpPr txBox="1">
            <a:spLocks noGrp="1"/>
          </p:cNvSpPr>
          <p:nvPr>
            <p:ph type="title"/>
          </p:nvPr>
        </p:nvSpPr>
        <p:spPr>
          <a:xfrm>
            <a:off x="1531650" y="445025"/>
            <a:ext cx="60807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/>
                <a:ea typeface="Merriweather Light"/>
                <a:cs typeface="Merriweather Light"/>
                <a:sym typeface="Merriweather Light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/>
                <a:ea typeface="Merriweather Light"/>
                <a:cs typeface="Merriweather Light"/>
                <a:sym typeface="Merriweather Light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/>
                <a:ea typeface="Merriweather Light"/>
                <a:cs typeface="Merriweather Light"/>
                <a:sym typeface="Merriweather Light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/>
                <a:ea typeface="Merriweather Light"/>
                <a:cs typeface="Merriweather Light"/>
                <a:sym typeface="Merriweather Light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/>
                <a:ea typeface="Merriweather Light"/>
                <a:cs typeface="Merriweather Light"/>
                <a:sym typeface="Merriweather Light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/>
                <a:ea typeface="Merriweather Light"/>
                <a:cs typeface="Merriweather Light"/>
                <a:sym typeface="Merriweather Light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/>
                <a:ea typeface="Merriweather Light"/>
                <a:cs typeface="Merriweather Light"/>
                <a:sym typeface="Merriweather Light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/>
                <a:ea typeface="Merriweather Light"/>
                <a:cs typeface="Merriweather Light"/>
                <a:sym typeface="Merriweather Light"/>
              </a:defRPr>
            </a:lvl9pPr>
          </a:lstStyle>
          <a:p>
            <a:endParaRPr/>
          </a:p>
        </p:txBody>
      </p:sp>
      <p:sp>
        <p:nvSpPr>
          <p:cNvPr id="369" name="Google Shape;369;p40"/>
          <p:cNvSpPr txBox="1">
            <a:spLocks noGrp="1"/>
          </p:cNvSpPr>
          <p:nvPr>
            <p:ph type="subTitle" idx="5"/>
          </p:nvPr>
        </p:nvSpPr>
        <p:spPr>
          <a:xfrm>
            <a:off x="728750" y="2997225"/>
            <a:ext cx="2014800" cy="499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9pPr>
          </a:lstStyle>
          <a:p>
            <a:endParaRPr/>
          </a:p>
        </p:txBody>
      </p:sp>
      <p:sp>
        <p:nvSpPr>
          <p:cNvPr id="370" name="Google Shape;370;p40"/>
          <p:cNvSpPr txBox="1">
            <a:spLocks noGrp="1"/>
          </p:cNvSpPr>
          <p:nvPr>
            <p:ph type="subTitle" idx="6"/>
          </p:nvPr>
        </p:nvSpPr>
        <p:spPr>
          <a:xfrm>
            <a:off x="728762" y="3405999"/>
            <a:ext cx="20148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Numbers and text 1">
  <p:cSld name="CUSTOM_6">
    <p:spTree>
      <p:nvGrpSpPr>
        <p:cNvPr id="1" name="Shape 3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2" name="Google Shape;372;p41"/>
          <p:cNvSpPr txBox="1">
            <a:spLocks noGrp="1"/>
          </p:cNvSpPr>
          <p:nvPr>
            <p:ph type="title" hasCustomPrompt="1"/>
          </p:nvPr>
        </p:nvSpPr>
        <p:spPr>
          <a:xfrm>
            <a:off x="2592925" y="714600"/>
            <a:ext cx="3958200" cy="615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5000"/>
              <a:buNone/>
              <a:defRPr sz="45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0"/>
              <a:buFont typeface="Russo One"/>
              <a:buNone/>
              <a:defRPr sz="12000">
                <a:solidFill>
                  <a:schemeClr val="accent1"/>
                </a:solidFill>
                <a:latin typeface="Russo One"/>
                <a:ea typeface="Russo One"/>
                <a:cs typeface="Russo One"/>
                <a:sym typeface="Russo One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0"/>
              <a:buFont typeface="Russo One"/>
              <a:buNone/>
              <a:defRPr sz="12000">
                <a:solidFill>
                  <a:schemeClr val="accent1"/>
                </a:solidFill>
                <a:latin typeface="Russo One"/>
                <a:ea typeface="Russo One"/>
                <a:cs typeface="Russo One"/>
                <a:sym typeface="Russo One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0"/>
              <a:buFont typeface="Russo One"/>
              <a:buNone/>
              <a:defRPr sz="12000">
                <a:solidFill>
                  <a:schemeClr val="accent1"/>
                </a:solidFill>
                <a:latin typeface="Russo One"/>
                <a:ea typeface="Russo One"/>
                <a:cs typeface="Russo One"/>
                <a:sym typeface="Russo One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0"/>
              <a:buFont typeface="Russo One"/>
              <a:buNone/>
              <a:defRPr sz="12000">
                <a:solidFill>
                  <a:schemeClr val="accent1"/>
                </a:solidFill>
                <a:latin typeface="Russo One"/>
                <a:ea typeface="Russo One"/>
                <a:cs typeface="Russo One"/>
                <a:sym typeface="Russo One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0"/>
              <a:buFont typeface="Russo One"/>
              <a:buNone/>
              <a:defRPr sz="12000">
                <a:solidFill>
                  <a:schemeClr val="accent1"/>
                </a:solidFill>
                <a:latin typeface="Russo One"/>
                <a:ea typeface="Russo One"/>
                <a:cs typeface="Russo One"/>
                <a:sym typeface="Russo One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0"/>
              <a:buFont typeface="Russo One"/>
              <a:buNone/>
              <a:defRPr sz="12000">
                <a:solidFill>
                  <a:schemeClr val="accent1"/>
                </a:solidFill>
                <a:latin typeface="Russo One"/>
                <a:ea typeface="Russo One"/>
                <a:cs typeface="Russo One"/>
                <a:sym typeface="Russo One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0"/>
              <a:buFont typeface="Russo One"/>
              <a:buNone/>
              <a:defRPr sz="12000">
                <a:solidFill>
                  <a:schemeClr val="accent1"/>
                </a:solidFill>
                <a:latin typeface="Russo One"/>
                <a:ea typeface="Russo One"/>
                <a:cs typeface="Russo One"/>
                <a:sym typeface="Russo One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0"/>
              <a:buFont typeface="Russo One"/>
              <a:buNone/>
              <a:defRPr sz="12000">
                <a:solidFill>
                  <a:schemeClr val="accent1"/>
                </a:solidFill>
                <a:latin typeface="Russo One"/>
                <a:ea typeface="Russo One"/>
                <a:cs typeface="Russo One"/>
                <a:sym typeface="Russo One"/>
              </a:defRPr>
            </a:lvl9pPr>
          </a:lstStyle>
          <a:p>
            <a:r>
              <a:t>xx%</a:t>
            </a:r>
          </a:p>
        </p:txBody>
      </p:sp>
      <p:sp>
        <p:nvSpPr>
          <p:cNvPr id="373" name="Google Shape;373;p41"/>
          <p:cNvSpPr txBox="1">
            <a:spLocks noGrp="1"/>
          </p:cNvSpPr>
          <p:nvPr>
            <p:ph type="subTitle" idx="1"/>
          </p:nvPr>
        </p:nvSpPr>
        <p:spPr>
          <a:xfrm>
            <a:off x="2364984" y="1346400"/>
            <a:ext cx="4414200" cy="377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500"/>
              <a:buNone/>
              <a:defRPr sz="14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4" name="Google Shape;374;p41"/>
          <p:cNvSpPr txBox="1">
            <a:spLocks noGrp="1"/>
          </p:cNvSpPr>
          <p:nvPr>
            <p:ph type="title" idx="2" hasCustomPrompt="1"/>
          </p:nvPr>
        </p:nvSpPr>
        <p:spPr>
          <a:xfrm>
            <a:off x="2592925" y="2063025"/>
            <a:ext cx="3958200" cy="615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5000"/>
              <a:buNone/>
              <a:defRPr sz="43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0"/>
              <a:buFont typeface="Russo One"/>
              <a:buNone/>
              <a:defRPr sz="12000">
                <a:solidFill>
                  <a:schemeClr val="accent1"/>
                </a:solidFill>
                <a:latin typeface="Russo One"/>
                <a:ea typeface="Russo One"/>
                <a:cs typeface="Russo One"/>
                <a:sym typeface="Russo One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0"/>
              <a:buFont typeface="Russo One"/>
              <a:buNone/>
              <a:defRPr sz="12000">
                <a:solidFill>
                  <a:schemeClr val="accent1"/>
                </a:solidFill>
                <a:latin typeface="Russo One"/>
                <a:ea typeface="Russo One"/>
                <a:cs typeface="Russo One"/>
                <a:sym typeface="Russo One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0"/>
              <a:buFont typeface="Russo One"/>
              <a:buNone/>
              <a:defRPr sz="12000">
                <a:solidFill>
                  <a:schemeClr val="accent1"/>
                </a:solidFill>
                <a:latin typeface="Russo One"/>
                <a:ea typeface="Russo One"/>
                <a:cs typeface="Russo One"/>
                <a:sym typeface="Russo One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0"/>
              <a:buFont typeface="Russo One"/>
              <a:buNone/>
              <a:defRPr sz="12000">
                <a:solidFill>
                  <a:schemeClr val="accent1"/>
                </a:solidFill>
                <a:latin typeface="Russo One"/>
                <a:ea typeface="Russo One"/>
                <a:cs typeface="Russo One"/>
                <a:sym typeface="Russo One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0"/>
              <a:buFont typeface="Russo One"/>
              <a:buNone/>
              <a:defRPr sz="12000">
                <a:solidFill>
                  <a:schemeClr val="accent1"/>
                </a:solidFill>
                <a:latin typeface="Russo One"/>
                <a:ea typeface="Russo One"/>
                <a:cs typeface="Russo One"/>
                <a:sym typeface="Russo One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0"/>
              <a:buFont typeface="Russo One"/>
              <a:buNone/>
              <a:defRPr sz="12000">
                <a:solidFill>
                  <a:schemeClr val="accent1"/>
                </a:solidFill>
                <a:latin typeface="Russo One"/>
                <a:ea typeface="Russo One"/>
                <a:cs typeface="Russo One"/>
                <a:sym typeface="Russo One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0"/>
              <a:buFont typeface="Russo One"/>
              <a:buNone/>
              <a:defRPr sz="12000">
                <a:solidFill>
                  <a:schemeClr val="accent1"/>
                </a:solidFill>
                <a:latin typeface="Russo One"/>
                <a:ea typeface="Russo One"/>
                <a:cs typeface="Russo One"/>
                <a:sym typeface="Russo One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0"/>
              <a:buFont typeface="Russo One"/>
              <a:buNone/>
              <a:defRPr sz="12000">
                <a:solidFill>
                  <a:schemeClr val="accent1"/>
                </a:solidFill>
                <a:latin typeface="Russo One"/>
                <a:ea typeface="Russo One"/>
                <a:cs typeface="Russo One"/>
                <a:sym typeface="Russo One"/>
              </a:defRPr>
            </a:lvl9pPr>
          </a:lstStyle>
          <a:p>
            <a:r>
              <a:t>xx%</a:t>
            </a:r>
          </a:p>
        </p:txBody>
      </p:sp>
      <p:sp>
        <p:nvSpPr>
          <p:cNvPr id="375" name="Google Shape;375;p41"/>
          <p:cNvSpPr txBox="1">
            <a:spLocks noGrp="1"/>
          </p:cNvSpPr>
          <p:nvPr>
            <p:ph type="subTitle" idx="3"/>
          </p:nvPr>
        </p:nvSpPr>
        <p:spPr>
          <a:xfrm>
            <a:off x="2364984" y="2694825"/>
            <a:ext cx="4414200" cy="377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 sz="14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6" name="Google Shape;376;p41"/>
          <p:cNvSpPr txBox="1">
            <a:spLocks noGrp="1"/>
          </p:cNvSpPr>
          <p:nvPr>
            <p:ph type="title" idx="4" hasCustomPrompt="1"/>
          </p:nvPr>
        </p:nvSpPr>
        <p:spPr>
          <a:xfrm>
            <a:off x="2592925" y="3411450"/>
            <a:ext cx="3958200" cy="615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5000"/>
              <a:buNone/>
              <a:defRPr sz="43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0"/>
              <a:buFont typeface="Russo One"/>
              <a:buNone/>
              <a:defRPr sz="12000">
                <a:solidFill>
                  <a:schemeClr val="accent1"/>
                </a:solidFill>
                <a:latin typeface="Russo One"/>
                <a:ea typeface="Russo One"/>
                <a:cs typeface="Russo One"/>
                <a:sym typeface="Russo One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0"/>
              <a:buFont typeface="Russo One"/>
              <a:buNone/>
              <a:defRPr sz="12000">
                <a:solidFill>
                  <a:schemeClr val="accent1"/>
                </a:solidFill>
                <a:latin typeface="Russo One"/>
                <a:ea typeface="Russo One"/>
                <a:cs typeface="Russo One"/>
                <a:sym typeface="Russo One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0"/>
              <a:buFont typeface="Russo One"/>
              <a:buNone/>
              <a:defRPr sz="12000">
                <a:solidFill>
                  <a:schemeClr val="accent1"/>
                </a:solidFill>
                <a:latin typeface="Russo One"/>
                <a:ea typeface="Russo One"/>
                <a:cs typeface="Russo One"/>
                <a:sym typeface="Russo One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0"/>
              <a:buFont typeface="Russo One"/>
              <a:buNone/>
              <a:defRPr sz="12000">
                <a:solidFill>
                  <a:schemeClr val="accent1"/>
                </a:solidFill>
                <a:latin typeface="Russo One"/>
                <a:ea typeface="Russo One"/>
                <a:cs typeface="Russo One"/>
                <a:sym typeface="Russo One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0"/>
              <a:buFont typeface="Russo One"/>
              <a:buNone/>
              <a:defRPr sz="12000">
                <a:solidFill>
                  <a:schemeClr val="accent1"/>
                </a:solidFill>
                <a:latin typeface="Russo One"/>
                <a:ea typeface="Russo One"/>
                <a:cs typeface="Russo One"/>
                <a:sym typeface="Russo One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0"/>
              <a:buFont typeface="Russo One"/>
              <a:buNone/>
              <a:defRPr sz="12000">
                <a:solidFill>
                  <a:schemeClr val="accent1"/>
                </a:solidFill>
                <a:latin typeface="Russo One"/>
                <a:ea typeface="Russo One"/>
                <a:cs typeface="Russo One"/>
                <a:sym typeface="Russo One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0"/>
              <a:buFont typeface="Russo One"/>
              <a:buNone/>
              <a:defRPr sz="12000">
                <a:solidFill>
                  <a:schemeClr val="accent1"/>
                </a:solidFill>
                <a:latin typeface="Russo One"/>
                <a:ea typeface="Russo One"/>
                <a:cs typeface="Russo One"/>
                <a:sym typeface="Russo One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0"/>
              <a:buFont typeface="Russo One"/>
              <a:buNone/>
              <a:defRPr sz="12000">
                <a:solidFill>
                  <a:schemeClr val="accent1"/>
                </a:solidFill>
                <a:latin typeface="Russo One"/>
                <a:ea typeface="Russo One"/>
                <a:cs typeface="Russo One"/>
                <a:sym typeface="Russo One"/>
              </a:defRPr>
            </a:lvl9pPr>
          </a:lstStyle>
          <a:p>
            <a:r>
              <a:t>xx%</a:t>
            </a:r>
          </a:p>
        </p:txBody>
      </p:sp>
      <p:sp>
        <p:nvSpPr>
          <p:cNvPr id="377" name="Google Shape;377;p41"/>
          <p:cNvSpPr txBox="1">
            <a:spLocks noGrp="1"/>
          </p:cNvSpPr>
          <p:nvPr>
            <p:ph type="subTitle" idx="5"/>
          </p:nvPr>
        </p:nvSpPr>
        <p:spPr>
          <a:xfrm>
            <a:off x="2364950" y="4043250"/>
            <a:ext cx="4414200" cy="377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500"/>
              <a:buNone/>
              <a:defRPr sz="14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378" name="Google Shape;378;p41"/>
          <p:cNvCxnSpPr/>
          <p:nvPr/>
        </p:nvCxnSpPr>
        <p:spPr>
          <a:xfrm>
            <a:off x="-72550" y="27410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379" name="Google Shape;379;p41"/>
          <p:cNvCxnSpPr/>
          <p:nvPr/>
        </p:nvCxnSpPr>
        <p:spPr>
          <a:xfrm>
            <a:off x="-72550" y="487745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30;p5"/>
          <p:cNvSpPr txBox="1">
            <a:spLocks noGrp="1"/>
          </p:cNvSpPr>
          <p:nvPr>
            <p:ph type="title"/>
          </p:nvPr>
        </p:nvSpPr>
        <p:spPr>
          <a:xfrm>
            <a:off x="713225" y="445025"/>
            <a:ext cx="56811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9pPr>
          </a:lstStyle>
          <a:p>
            <a:endParaRPr/>
          </a:p>
        </p:txBody>
      </p:sp>
      <p:sp>
        <p:nvSpPr>
          <p:cNvPr id="31" name="Google Shape;31;p5"/>
          <p:cNvSpPr txBox="1">
            <a:spLocks noGrp="1"/>
          </p:cNvSpPr>
          <p:nvPr>
            <p:ph type="subTitle" idx="1"/>
          </p:nvPr>
        </p:nvSpPr>
        <p:spPr>
          <a:xfrm>
            <a:off x="5038975" y="2551449"/>
            <a:ext cx="2486100" cy="501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Vidaloka"/>
              <a:buNone/>
              <a:defRPr sz="2400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400"/>
              <a:buFont typeface="Vidaloka"/>
              <a:buNone/>
              <a:defRPr sz="2400" b="1">
                <a:latin typeface="Vidaloka"/>
                <a:ea typeface="Vidaloka"/>
                <a:cs typeface="Vidaloka"/>
                <a:sym typeface="Vidaloka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400"/>
              <a:buFont typeface="Vidaloka"/>
              <a:buNone/>
              <a:defRPr sz="2400" b="1">
                <a:latin typeface="Vidaloka"/>
                <a:ea typeface="Vidaloka"/>
                <a:cs typeface="Vidaloka"/>
                <a:sym typeface="Vidaloka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400"/>
              <a:buFont typeface="Vidaloka"/>
              <a:buNone/>
              <a:defRPr sz="2400" b="1">
                <a:latin typeface="Vidaloka"/>
                <a:ea typeface="Vidaloka"/>
                <a:cs typeface="Vidaloka"/>
                <a:sym typeface="Vidaloka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400"/>
              <a:buFont typeface="Vidaloka"/>
              <a:buNone/>
              <a:defRPr sz="2400" b="1">
                <a:latin typeface="Vidaloka"/>
                <a:ea typeface="Vidaloka"/>
                <a:cs typeface="Vidaloka"/>
                <a:sym typeface="Vidaloka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400"/>
              <a:buFont typeface="Vidaloka"/>
              <a:buNone/>
              <a:defRPr sz="2400" b="1">
                <a:latin typeface="Vidaloka"/>
                <a:ea typeface="Vidaloka"/>
                <a:cs typeface="Vidaloka"/>
                <a:sym typeface="Vidaloka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400"/>
              <a:buFont typeface="Vidaloka"/>
              <a:buNone/>
              <a:defRPr sz="2400" b="1">
                <a:latin typeface="Vidaloka"/>
                <a:ea typeface="Vidaloka"/>
                <a:cs typeface="Vidaloka"/>
                <a:sym typeface="Vidaloka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400"/>
              <a:buFont typeface="Vidaloka"/>
              <a:buNone/>
              <a:defRPr sz="2400" b="1">
                <a:latin typeface="Vidaloka"/>
                <a:ea typeface="Vidaloka"/>
                <a:cs typeface="Vidaloka"/>
                <a:sym typeface="Vidaloka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400"/>
              <a:buFont typeface="Vidaloka"/>
              <a:buNone/>
              <a:defRPr sz="2400" b="1">
                <a:latin typeface="Vidaloka"/>
                <a:ea typeface="Vidaloka"/>
                <a:cs typeface="Vidaloka"/>
                <a:sym typeface="Vidaloka"/>
              </a:defRPr>
            </a:lvl9pPr>
          </a:lstStyle>
          <a:p>
            <a:endParaRPr/>
          </a:p>
        </p:txBody>
      </p:sp>
      <p:sp>
        <p:nvSpPr>
          <p:cNvPr id="32" name="Google Shape;32;p5"/>
          <p:cNvSpPr txBox="1">
            <a:spLocks noGrp="1"/>
          </p:cNvSpPr>
          <p:nvPr>
            <p:ph type="subTitle" idx="2"/>
          </p:nvPr>
        </p:nvSpPr>
        <p:spPr>
          <a:xfrm>
            <a:off x="5038975" y="2961200"/>
            <a:ext cx="2486100" cy="902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" name="Google Shape;33;p5"/>
          <p:cNvSpPr txBox="1">
            <a:spLocks noGrp="1"/>
          </p:cNvSpPr>
          <p:nvPr>
            <p:ph type="subTitle" idx="3"/>
          </p:nvPr>
        </p:nvSpPr>
        <p:spPr>
          <a:xfrm>
            <a:off x="1693175" y="2551449"/>
            <a:ext cx="2486100" cy="501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Vidaloka"/>
              <a:buNone/>
              <a:defRPr sz="2400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400"/>
              <a:buFont typeface="Vidaloka"/>
              <a:buNone/>
              <a:defRPr sz="2400" b="1">
                <a:latin typeface="Vidaloka"/>
                <a:ea typeface="Vidaloka"/>
                <a:cs typeface="Vidaloka"/>
                <a:sym typeface="Vidaloka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400"/>
              <a:buFont typeface="Vidaloka"/>
              <a:buNone/>
              <a:defRPr sz="2400" b="1">
                <a:latin typeface="Vidaloka"/>
                <a:ea typeface="Vidaloka"/>
                <a:cs typeface="Vidaloka"/>
                <a:sym typeface="Vidaloka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400"/>
              <a:buFont typeface="Vidaloka"/>
              <a:buNone/>
              <a:defRPr sz="2400" b="1">
                <a:latin typeface="Vidaloka"/>
                <a:ea typeface="Vidaloka"/>
                <a:cs typeface="Vidaloka"/>
                <a:sym typeface="Vidaloka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400"/>
              <a:buFont typeface="Vidaloka"/>
              <a:buNone/>
              <a:defRPr sz="2400" b="1">
                <a:latin typeface="Vidaloka"/>
                <a:ea typeface="Vidaloka"/>
                <a:cs typeface="Vidaloka"/>
                <a:sym typeface="Vidaloka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400"/>
              <a:buFont typeface="Vidaloka"/>
              <a:buNone/>
              <a:defRPr sz="2400" b="1">
                <a:latin typeface="Vidaloka"/>
                <a:ea typeface="Vidaloka"/>
                <a:cs typeface="Vidaloka"/>
                <a:sym typeface="Vidaloka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400"/>
              <a:buFont typeface="Vidaloka"/>
              <a:buNone/>
              <a:defRPr sz="2400" b="1">
                <a:latin typeface="Vidaloka"/>
                <a:ea typeface="Vidaloka"/>
                <a:cs typeface="Vidaloka"/>
                <a:sym typeface="Vidaloka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400"/>
              <a:buFont typeface="Vidaloka"/>
              <a:buNone/>
              <a:defRPr sz="2400" b="1">
                <a:latin typeface="Vidaloka"/>
                <a:ea typeface="Vidaloka"/>
                <a:cs typeface="Vidaloka"/>
                <a:sym typeface="Vidaloka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400"/>
              <a:buFont typeface="Vidaloka"/>
              <a:buNone/>
              <a:defRPr sz="2400" b="1">
                <a:latin typeface="Vidaloka"/>
                <a:ea typeface="Vidaloka"/>
                <a:cs typeface="Vidaloka"/>
                <a:sym typeface="Vidaloka"/>
              </a:defRPr>
            </a:lvl9pPr>
          </a:lstStyle>
          <a:p>
            <a:endParaRPr/>
          </a:p>
        </p:txBody>
      </p:sp>
      <p:sp>
        <p:nvSpPr>
          <p:cNvPr id="34" name="Google Shape;34;p5"/>
          <p:cNvSpPr txBox="1">
            <a:spLocks noGrp="1"/>
          </p:cNvSpPr>
          <p:nvPr>
            <p:ph type="subTitle" idx="4"/>
          </p:nvPr>
        </p:nvSpPr>
        <p:spPr>
          <a:xfrm>
            <a:off x="1693175" y="2961200"/>
            <a:ext cx="2486100" cy="902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35" name="Google Shape;35;p5"/>
          <p:cNvCxnSpPr/>
          <p:nvPr/>
        </p:nvCxnSpPr>
        <p:spPr>
          <a:xfrm>
            <a:off x="-72550" y="27410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36" name="Google Shape;36;p5"/>
          <p:cNvCxnSpPr/>
          <p:nvPr/>
        </p:nvCxnSpPr>
        <p:spPr>
          <a:xfrm>
            <a:off x="-72550" y="487745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37" name="Google Shape;37;p5"/>
          <p:cNvCxnSpPr/>
          <p:nvPr/>
        </p:nvCxnSpPr>
        <p:spPr>
          <a:xfrm flipH="1">
            <a:off x="6935750" y="3931325"/>
            <a:ext cx="2549400" cy="1354500"/>
          </a:xfrm>
          <a:prstGeom prst="curvedConnector3">
            <a:avLst>
              <a:gd name="adj1" fmla="val 50000"/>
            </a:avLst>
          </a:prstGeom>
          <a:noFill/>
          <a:ln w="2857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Numbers and text 2">
  <p:cSld name="CUSTOM_28">
    <p:spTree>
      <p:nvGrpSpPr>
        <p:cNvPr id="1" name="Shape 3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1" name="Google Shape;381;p42"/>
          <p:cNvSpPr txBox="1">
            <a:spLocks noGrp="1"/>
          </p:cNvSpPr>
          <p:nvPr>
            <p:ph type="subTitle" idx="1"/>
          </p:nvPr>
        </p:nvSpPr>
        <p:spPr>
          <a:xfrm>
            <a:off x="5700609" y="2084269"/>
            <a:ext cx="2764500" cy="499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9pPr>
          </a:lstStyle>
          <a:p>
            <a:endParaRPr/>
          </a:p>
        </p:txBody>
      </p:sp>
      <p:sp>
        <p:nvSpPr>
          <p:cNvPr id="382" name="Google Shape;382;p42"/>
          <p:cNvSpPr txBox="1">
            <a:spLocks noGrp="1"/>
          </p:cNvSpPr>
          <p:nvPr>
            <p:ph type="subTitle" idx="2"/>
          </p:nvPr>
        </p:nvSpPr>
        <p:spPr>
          <a:xfrm>
            <a:off x="5700621" y="2486544"/>
            <a:ext cx="27645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chemeClr val="dk1"/>
                </a:solidFill>
                <a:latin typeface="Mako"/>
                <a:ea typeface="Mako"/>
                <a:cs typeface="Mako"/>
                <a:sym typeface="Mako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3" name="Google Shape;383;p42"/>
          <p:cNvSpPr txBox="1">
            <a:spLocks noGrp="1"/>
          </p:cNvSpPr>
          <p:nvPr>
            <p:ph type="subTitle" idx="3"/>
          </p:nvPr>
        </p:nvSpPr>
        <p:spPr>
          <a:xfrm>
            <a:off x="1973988" y="902134"/>
            <a:ext cx="2764500" cy="499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9pPr>
          </a:lstStyle>
          <a:p>
            <a:endParaRPr/>
          </a:p>
        </p:txBody>
      </p:sp>
      <p:sp>
        <p:nvSpPr>
          <p:cNvPr id="384" name="Google Shape;384;p42"/>
          <p:cNvSpPr txBox="1">
            <a:spLocks noGrp="1"/>
          </p:cNvSpPr>
          <p:nvPr>
            <p:ph type="subTitle" idx="4"/>
          </p:nvPr>
        </p:nvSpPr>
        <p:spPr>
          <a:xfrm>
            <a:off x="1973988" y="1304410"/>
            <a:ext cx="27645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chemeClr val="dk1"/>
                </a:solidFill>
                <a:latin typeface="Mako"/>
                <a:ea typeface="Mako"/>
                <a:cs typeface="Mako"/>
                <a:sym typeface="Mako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5" name="Google Shape;385;p42"/>
          <p:cNvSpPr txBox="1">
            <a:spLocks noGrp="1"/>
          </p:cNvSpPr>
          <p:nvPr>
            <p:ph type="subTitle" idx="5"/>
          </p:nvPr>
        </p:nvSpPr>
        <p:spPr>
          <a:xfrm>
            <a:off x="1973988" y="3290875"/>
            <a:ext cx="2764500" cy="499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9pPr>
          </a:lstStyle>
          <a:p>
            <a:endParaRPr/>
          </a:p>
        </p:txBody>
      </p:sp>
      <p:sp>
        <p:nvSpPr>
          <p:cNvPr id="386" name="Google Shape;386;p42"/>
          <p:cNvSpPr txBox="1">
            <a:spLocks noGrp="1"/>
          </p:cNvSpPr>
          <p:nvPr>
            <p:ph type="subTitle" idx="6"/>
          </p:nvPr>
        </p:nvSpPr>
        <p:spPr>
          <a:xfrm>
            <a:off x="1973988" y="3699649"/>
            <a:ext cx="27645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387" name="Google Shape;387;p42"/>
          <p:cNvCxnSpPr/>
          <p:nvPr/>
        </p:nvCxnSpPr>
        <p:spPr>
          <a:xfrm>
            <a:off x="-72550" y="27410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388" name="Google Shape;388;p42"/>
          <p:cNvCxnSpPr/>
          <p:nvPr/>
        </p:nvCxnSpPr>
        <p:spPr>
          <a:xfrm>
            <a:off x="-72550" y="487745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389" name="Google Shape;389;p42"/>
          <p:cNvCxnSpPr/>
          <p:nvPr/>
        </p:nvCxnSpPr>
        <p:spPr>
          <a:xfrm>
            <a:off x="-250225" y="4076450"/>
            <a:ext cx="1926900" cy="1161000"/>
          </a:xfrm>
          <a:prstGeom prst="curvedConnector3">
            <a:avLst>
              <a:gd name="adj1" fmla="val 50000"/>
            </a:avLst>
          </a:prstGeom>
          <a:noFill/>
          <a:ln w="2857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390" name="Google Shape;390;p42"/>
          <p:cNvCxnSpPr/>
          <p:nvPr/>
        </p:nvCxnSpPr>
        <p:spPr>
          <a:xfrm>
            <a:off x="7441150" y="-48375"/>
            <a:ext cx="1926900" cy="1161000"/>
          </a:xfrm>
          <a:prstGeom prst="curvedConnector3">
            <a:avLst>
              <a:gd name="adj1" fmla="val 50000"/>
            </a:avLst>
          </a:prstGeom>
          <a:noFill/>
          <a:ln w="2857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391" name="Google Shape;391;p42"/>
          <p:cNvCxnSpPr/>
          <p:nvPr/>
        </p:nvCxnSpPr>
        <p:spPr>
          <a:xfrm flipH="1">
            <a:off x="7454238" y="4053663"/>
            <a:ext cx="1926900" cy="1161000"/>
          </a:xfrm>
          <a:prstGeom prst="curvedConnector3">
            <a:avLst>
              <a:gd name="adj1" fmla="val 50000"/>
            </a:avLst>
          </a:prstGeom>
          <a:noFill/>
          <a:ln w="2857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392" name="Google Shape;392;p42"/>
          <p:cNvSpPr txBox="1">
            <a:spLocks noGrp="1"/>
          </p:cNvSpPr>
          <p:nvPr>
            <p:ph type="title" hasCustomPrompt="1"/>
          </p:nvPr>
        </p:nvSpPr>
        <p:spPr>
          <a:xfrm>
            <a:off x="733000" y="1114450"/>
            <a:ext cx="1118100" cy="615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5000"/>
              <a:buNone/>
              <a:defRPr sz="45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0"/>
              <a:buFont typeface="Russo One"/>
              <a:buNone/>
              <a:defRPr sz="12000">
                <a:solidFill>
                  <a:schemeClr val="accent1"/>
                </a:solidFill>
                <a:latin typeface="Russo One"/>
                <a:ea typeface="Russo One"/>
                <a:cs typeface="Russo One"/>
                <a:sym typeface="Russo One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0"/>
              <a:buFont typeface="Russo One"/>
              <a:buNone/>
              <a:defRPr sz="12000">
                <a:solidFill>
                  <a:schemeClr val="accent1"/>
                </a:solidFill>
                <a:latin typeface="Russo One"/>
                <a:ea typeface="Russo One"/>
                <a:cs typeface="Russo One"/>
                <a:sym typeface="Russo One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0"/>
              <a:buFont typeface="Russo One"/>
              <a:buNone/>
              <a:defRPr sz="12000">
                <a:solidFill>
                  <a:schemeClr val="accent1"/>
                </a:solidFill>
                <a:latin typeface="Russo One"/>
                <a:ea typeface="Russo One"/>
                <a:cs typeface="Russo One"/>
                <a:sym typeface="Russo One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0"/>
              <a:buFont typeface="Russo One"/>
              <a:buNone/>
              <a:defRPr sz="12000">
                <a:solidFill>
                  <a:schemeClr val="accent1"/>
                </a:solidFill>
                <a:latin typeface="Russo One"/>
                <a:ea typeface="Russo One"/>
                <a:cs typeface="Russo One"/>
                <a:sym typeface="Russo One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0"/>
              <a:buFont typeface="Russo One"/>
              <a:buNone/>
              <a:defRPr sz="12000">
                <a:solidFill>
                  <a:schemeClr val="accent1"/>
                </a:solidFill>
                <a:latin typeface="Russo One"/>
                <a:ea typeface="Russo One"/>
                <a:cs typeface="Russo One"/>
                <a:sym typeface="Russo One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0"/>
              <a:buFont typeface="Russo One"/>
              <a:buNone/>
              <a:defRPr sz="12000">
                <a:solidFill>
                  <a:schemeClr val="accent1"/>
                </a:solidFill>
                <a:latin typeface="Russo One"/>
                <a:ea typeface="Russo One"/>
                <a:cs typeface="Russo One"/>
                <a:sym typeface="Russo One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0"/>
              <a:buFont typeface="Russo One"/>
              <a:buNone/>
              <a:defRPr sz="12000">
                <a:solidFill>
                  <a:schemeClr val="accent1"/>
                </a:solidFill>
                <a:latin typeface="Russo One"/>
                <a:ea typeface="Russo One"/>
                <a:cs typeface="Russo One"/>
                <a:sym typeface="Russo One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0"/>
              <a:buFont typeface="Russo One"/>
              <a:buNone/>
              <a:defRPr sz="12000">
                <a:solidFill>
                  <a:schemeClr val="accent1"/>
                </a:solidFill>
                <a:latin typeface="Russo One"/>
                <a:ea typeface="Russo One"/>
                <a:cs typeface="Russo One"/>
                <a:sym typeface="Russo One"/>
              </a:defRPr>
            </a:lvl9pPr>
          </a:lstStyle>
          <a:p>
            <a:r>
              <a:t>xx%</a:t>
            </a:r>
          </a:p>
        </p:txBody>
      </p:sp>
      <p:sp>
        <p:nvSpPr>
          <p:cNvPr id="393" name="Google Shape;393;p42"/>
          <p:cNvSpPr txBox="1">
            <a:spLocks noGrp="1"/>
          </p:cNvSpPr>
          <p:nvPr>
            <p:ph type="title" idx="7" hasCustomPrompt="1"/>
          </p:nvPr>
        </p:nvSpPr>
        <p:spPr>
          <a:xfrm>
            <a:off x="733000" y="3503175"/>
            <a:ext cx="1118100" cy="615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5000"/>
              <a:buNone/>
              <a:defRPr sz="45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0"/>
              <a:buFont typeface="Russo One"/>
              <a:buNone/>
              <a:defRPr sz="12000">
                <a:solidFill>
                  <a:schemeClr val="accent1"/>
                </a:solidFill>
                <a:latin typeface="Russo One"/>
                <a:ea typeface="Russo One"/>
                <a:cs typeface="Russo One"/>
                <a:sym typeface="Russo One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0"/>
              <a:buFont typeface="Russo One"/>
              <a:buNone/>
              <a:defRPr sz="12000">
                <a:solidFill>
                  <a:schemeClr val="accent1"/>
                </a:solidFill>
                <a:latin typeface="Russo One"/>
                <a:ea typeface="Russo One"/>
                <a:cs typeface="Russo One"/>
                <a:sym typeface="Russo One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0"/>
              <a:buFont typeface="Russo One"/>
              <a:buNone/>
              <a:defRPr sz="12000">
                <a:solidFill>
                  <a:schemeClr val="accent1"/>
                </a:solidFill>
                <a:latin typeface="Russo One"/>
                <a:ea typeface="Russo One"/>
                <a:cs typeface="Russo One"/>
                <a:sym typeface="Russo One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0"/>
              <a:buFont typeface="Russo One"/>
              <a:buNone/>
              <a:defRPr sz="12000">
                <a:solidFill>
                  <a:schemeClr val="accent1"/>
                </a:solidFill>
                <a:latin typeface="Russo One"/>
                <a:ea typeface="Russo One"/>
                <a:cs typeface="Russo One"/>
                <a:sym typeface="Russo One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0"/>
              <a:buFont typeface="Russo One"/>
              <a:buNone/>
              <a:defRPr sz="12000">
                <a:solidFill>
                  <a:schemeClr val="accent1"/>
                </a:solidFill>
                <a:latin typeface="Russo One"/>
                <a:ea typeface="Russo One"/>
                <a:cs typeface="Russo One"/>
                <a:sym typeface="Russo One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0"/>
              <a:buFont typeface="Russo One"/>
              <a:buNone/>
              <a:defRPr sz="12000">
                <a:solidFill>
                  <a:schemeClr val="accent1"/>
                </a:solidFill>
                <a:latin typeface="Russo One"/>
                <a:ea typeface="Russo One"/>
                <a:cs typeface="Russo One"/>
                <a:sym typeface="Russo One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0"/>
              <a:buFont typeface="Russo One"/>
              <a:buNone/>
              <a:defRPr sz="12000">
                <a:solidFill>
                  <a:schemeClr val="accent1"/>
                </a:solidFill>
                <a:latin typeface="Russo One"/>
                <a:ea typeface="Russo One"/>
                <a:cs typeface="Russo One"/>
                <a:sym typeface="Russo One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0"/>
              <a:buFont typeface="Russo One"/>
              <a:buNone/>
              <a:defRPr sz="12000">
                <a:solidFill>
                  <a:schemeClr val="accent1"/>
                </a:solidFill>
                <a:latin typeface="Russo One"/>
                <a:ea typeface="Russo One"/>
                <a:cs typeface="Russo One"/>
                <a:sym typeface="Russo One"/>
              </a:defRPr>
            </a:lvl9pPr>
          </a:lstStyle>
          <a:p>
            <a:r>
              <a:t>xx%</a:t>
            </a:r>
          </a:p>
        </p:txBody>
      </p:sp>
      <p:sp>
        <p:nvSpPr>
          <p:cNvPr id="394" name="Google Shape;394;p42"/>
          <p:cNvSpPr txBox="1">
            <a:spLocks noGrp="1"/>
          </p:cNvSpPr>
          <p:nvPr>
            <p:ph type="title" idx="8" hasCustomPrompt="1"/>
          </p:nvPr>
        </p:nvSpPr>
        <p:spPr>
          <a:xfrm>
            <a:off x="4441002" y="2276488"/>
            <a:ext cx="1118100" cy="615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5000"/>
              <a:buNone/>
              <a:defRPr sz="45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0"/>
              <a:buFont typeface="Russo One"/>
              <a:buNone/>
              <a:defRPr sz="12000">
                <a:solidFill>
                  <a:schemeClr val="accent1"/>
                </a:solidFill>
                <a:latin typeface="Russo One"/>
                <a:ea typeface="Russo One"/>
                <a:cs typeface="Russo One"/>
                <a:sym typeface="Russo One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0"/>
              <a:buFont typeface="Russo One"/>
              <a:buNone/>
              <a:defRPr sz="12000">
                <a:solidFill>
                  <a:schemeClr val="accent1"/>
                </a:solidFill>
                <a:latin typeface="Russo One"/>
                <a:ea typeface="Russo One"/>
                <a:cs typeface="Russo One"/>
                <a:sym typeface="Russo One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0"/>
              <a:buFont typeface="Russo One"/>
              <a:buNone/>
              <a:defRPr sz="12000">
                <a:solidFill>
                  <a:schemeClr val="accent1"/>
                </a:solidFill>
                <a:latin typeface="Russo One"/>
                <a:ea typeface="Russo One"/>
                <a:cs typeface="Russo One"/>
                <a:sym typeface="Russo One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0"/>
              <a:buFont typeface="Russo One"/>
              <a:buNone/>
              <a:defRPr sz="12000">
                <a:solidFill>
                  <a:schemeClr val="accent1"/>
                </a:solidFill>
                <a:latin typeface="Russo One"/>
                <a:ea typeface="Russo One"/>
                <a:cs typeface="Russo One"/>
                <a:sym typeface="Russo One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0"/>
              <a:buFont typeface="Russo One"/>
              <a:buNone/>
              <a:defRPr sz="12000">
                <a:solidFill>
                  <a:schemeClr val="accent1"/>
                </a:solidFill>
                <a:latin typeface="Russo One"/>
                <a:ea typeface="Russo One"/>
                <a:cs typeface="Russo One"/>
                <a:sym typeface="Russo One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0"/>
              <a:buFont typeface="Russo One"/>
              <a:buNone/>
              <a:defRPr sz="12000">
                <a:solidFill>
                  <a:schemeClr val="accent1"/>
                </a:solidFill>
                <a:latin typeface="Russo One"/>
                <a:ea typeface="Russo One"/>
                <a:cs typeface="Russo One"/>
                <a:sym typeface="Russo One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0"/>
              <a:buFont typeface="Russo One"/>
              <a:buNone/>
              <a:defRPr sz="12000">
                <a:solidFill>
                  <a:schemeClr val="accent1"/>
                </a:solidFill>
                <a:latin typeface="Russo One"/>
                <a:ea typeface="Russo One"/>
                <a:cs typeface="Russo One"/>
                <a:sym typeface="Russo One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0"/>
              <a:buFont typeface="Russo One"/>
              <a:buNone/>
              <a:defRPr sz="12000">
                <a:solidFill>
                  <a:schemeClr val="accent1"/>
                </a:solidFill>
                <a:latin typeface="Russo One"/>
                <a:ea typeface="Russo One"/>
                <a:cs typeface="Russo One"/>
                <a:sym typeface="Russo One"/>
              </a:defRPr>
            </a:lvl9pPr>
          </a:lstStyle>
          <a:p>
            <a:r>
              <a:t>xx%</a:t>
            </a:r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 5">
  <p:cSld name="CUSTOM_7_1">
    <p:spTree>
      <p:nvGrpSpPr>
        <p:cNvPr id="1" name="Shape 3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6" name="Google Shape;396;p43"/>
          <p:cNvSpPr txBox="1">
            <a:spLocks noGrp="1"/>
          </p:cNvSpPr>
          <p:nvPr>
            <p:ph type="title"/>
          </p:nvPr>
        </p:nvSpPr>
        <p:spPr>
          <a:xfrm>
            <a:off x="803750" y="2040496"/>
            <a:ext cx="4087500" cy="673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9pPr>
          </a:lstStyle>
          <a:p>
            <a:endParaRPr/>
          </a:p>
        </p:txBody>
      </p:sp>
      <p:sp>
        <p:nvSpPr>
          <p:cNvPr id="397" name="Google Shape;397;p43"/>
          <p:cNvSpPr txBox="1">
            <a:spLocks noGrp="1"/>
          </p:cNvSpPr>
          <p:nvPr>
            <p:ph type="subTitle" idx="1"/>
          </p:nvPr>
        </p:nvSpPr>
        <p:spPr>
          <a:xfrm>
            <a:off x="803750" y="2693525"/>
            <a:ext cx="3159300" cy="558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Josefin Sans"/>
              <a:buNone/>
              <a:defRPr sz="1400"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398" name="Google Shape;398;p43"/>
          <p:cNvCxnSpPr/>
          <p:nvPr/>
        </p:nvCxnSpPr>
        <p:spPr>
          <a:xfrm>
            <a:off x="-72550" y="27410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399" name="Google Shape;399;p43"/>
          <p:cNvCxnSpPr/>
          <p:nvPr/>
        </p:nvCxnSpPr>
        <p:spPr>
          <a:xfrm>
            <a:off x="-72550" y="487745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 6">
  <p:cSld name="CUSTOM_7_2">
    <p:spTree>
      <p:nvGrpSpPr>
        <p:cNvPr id="1" name="Shape 4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1" name="Google Shape;401;p44"/>
          <p:cNvSpPr txBox="1">
            <a:spLocks noGrp="1"/>
          </p:cNvSpPr>
          <p:nvPr>
            <p:ph type="title"/>
          </p:nvPr>
        </p:nvSpPr>
        <p:spPr>
          <a:xfrm>
            <a:off x="4490150" y="2047725"/>
            <a:ext cx="3364200" cy="628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Open Sans SemiBold"/>
                <a:ea typeface="Open Sans SemiBold"/>
                <a:cs typeface="Open Sans SemiBold"/>
                <a:sym typeface="Open Sans SemiBol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Open Sans SemiBold"/>
                <a:ea typeface="Open Sans SemiBold"/>
                <a:cs typeface="Open Sans SemiBold"/>
                <a:sym typeface="Open Sans SemiBol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Open Sans SemiBold"/>
                <a:ea typeface="Open Sans SemiBold"/>
                <a:cs typeface="Open Sans SemiBold"/>
                <a:sym typeface="Open Sans SemiBol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Open Sans SemiBold"/>
                <a:ea typeface="Open Sans SemiBold"/>
                <a:cs typeface="Open Sans SemiBold"/>
                <a:sym typeface="Open Sans SemiBol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Open Sans SemiBold"/>
                <a:ea typeface="Open Sans SemiBold"/>
                <a:cs typeface="Open Sans SemiBold"/>
                <a:sym typeface="Open Sans SemiBol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Open Sans SemiBold"/>
                <a:ea typeface="Open Sans SemiBold"/>
                <a:cs typeface="Open Sans SemiBold"/>
                <a:sym typeface="Open Sans SemiBol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Open Sans SemiBold"/>
                <a:ea typeface="Open Sans SemiBold"/>
                <a:cs typeface="Open Sans SemiBold"/>
                <a:sym typeface="Open Sans SemiBol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Open Sans SemiBold"/>
                <a:ea typeface="Open Sans SemiBold"/>
                <a:cs typeface="Open Sans SemiBold"/>
                <a:sym typeface="Open Sans SemiBold"/>
              </a:defRPr>
            </a:lvl9pPr>
          </a:lstStyle>
          <a:p>
            <a:endParaRPr/>
          </a:p>
        </p:txBody>
      </p:sp>
      <p:sp>
        <p:nvSpPr>
          <p:cNvPr id="402" name="Google Shape;402;p44"/>
          <p:cNvSpPr txBox="1">
            <a:spLocks noGrp="1"/>
          </p:cNvSpPr>
          <p:nvPr>
            <p:ph type="subTitle" idx="1"/>
          </p:nvPr>
        </p:nvSpPr>
        <p:spPr>
          <a:xfrm>
            <a:off x="4855550" y="2694825"/>
            <a:ext cx="2998800" cy="558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Josefin Sans"/>
              <a:buNone/>
              <a:defRPr sz="1400">
                <a:solidFill>
                  <a:schemeClr val="dk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500"/>
              <a:buNone/>
              <a:defRPr sz="1500"/>
            </a:lvl2pPr>
            <a:lvl3pPr lvl="2" rtl="0">
              <a:spcBef>
                <a:spcPts val="0"/>
              </a:spcBef>
              <a:spcAft>
                <a:spcPts val="0"/>
              </a:spcAft>
              <a:buSzPts val="1500"/>
              <a:buNone/>
              <a:defRPr sz="1500"/>
            </a:lvl3pPr>
            <a:lvl4pPr lvl="3" rtl="0">
              <a:spcBef>
                <a:spcPts val="0"/>
              </a:spcBef>
              <a:spcAft>
                <a:spcPts val="0"/>
              </a:spcAft>
              <a:buSzPts val="1500"/>
              <a:buNone/>
              <a:defRPr sz="1500"/>
            </a:lvl4pPr>
            <a:lvl5pPr lvl="4" rtl="0">
              <a:spcBef>
                <a:spcPts val="0"/>
              </a:spcBef>
              <a:spcAft>
                <a:spcPts val="0"/>
              </a:spcAft>
              <a:buSzPts val="1500"/>
              <a:buNone/>
              <a:defRPr sz="1500"/>
            </a:lvl5pPr>
            <a:lvl6pPr lvl="5" rtl="0">
              <a:spcBef>
                <a:spcPts val="0"/>
              </a:spcBef>
              <a:spcAft>
                <a:spcPts val="0"/>
              </a:spcAft>
              <a:buSzPts val="1500"/>
              <a:buNone/>
              <a:defRPr sz="1500"/>
            </a:lvl6pPr>
            <a:lvl7pPr lvl="6" rtl="0">
              <a:spcBef>
                <a:spcPts val="0"/>
              </a:spcBef>
              <a:spcAft>
                <a:spcPts val="0"/>
              </a:spcAft>
              <a:buSzPts val="1500"/>
              <a:buNone/>
              <a:defRPr sz="1500"/>
            </a:lvl7pPr>
            <a:lvl8pPr lvl="7" rtl="0">
              <a:spcBef>
                <a:spcPts val="0"/>
              </a:spcBef>
              <a:spcAft>
                <a:spcPts val="0"/>
              </a:spcAft>
              <a:buSzPts val="1500"/>
              <a:buNone/>
              <a:defRPr sz="1500"/>
            </a:lvl8pPr>
            <a:lvl9pPr lvl="8" rtl="0">
              <a:spcBef>
                <a:spcPts val="0"/>
              </a:spcBef>
              <a:spcAft>
                <a:spcPts val="0"/>
              </a:spcAft>
              <a:buSzPts val="1500"/>
              <a:buNone/>
              <a:defRPr sz="1500"/>
            </a:lvl9pPr>
          </a:lstStyle>
          <a:p>
            <a:endParaRPr/>
          </a:p>
        </p:txBody>
      </p:sp>
      <p:cxnSp>
        <p:nvCxnSpPr>
          <p:cNvPr id="403" name="Google Shape;403;p44"/>
          <p:cNvCxnSpPr/>
          <p:nvPr/>
        </p:nvCxnSpPr>
        <p:spPr>
          <a:xfrm>
            <a:off x="-72550" y="27410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04" name="Google Shape;404;p44"/>
          <p:cNvCxnSpPr/>
          <p:nvPr/>
        </p:nvCxnSpPr>
        <p:spPr>
          <a:xfrm>
            <a:off x="-72550" y="487745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 7">
  <p:cSld name="CUSTOM_8">
    <p:spTree>
      <p:nvGrpSpPr>
        <p:cNvPr id="1" name="Shape 4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45"/>
          <p:cNvSpPr txBox="1">
            <a:spLocks noGrp="1"/>
          </p:cNvSpPr>
          <p:nvPr>
            <p:ph type="subTitle" idx="1"/>
          </p:nvPr>
        </p:nvSpPr>
        <p:spPr>
          <a:xfrm>
            <a:off x="4166800" y="1453525"/>
            <a:ext cx="3957600" cy="2889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R="3810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Char char="●"/>
              <a:defRPr sz="14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07" name="Google Shape;407;p45"/>
          <p:cNvSpPr txBox="1">
            <a:spLocks noGrp="1"/>
          </p:cNvSpPr>
          <p:nvPr>
            <p:ph type="title"/>
          </p:nvPr>
        </p:nvSpPr>
        <p:spPr>
          <a:xfrm>
            <a:off x="713225" y="445025"/>
            <a:ext cx="45027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/>
                <a:ea typeface="Merriweather Light"/>
                <a:cs typeface="Merriweather Light"/>
                <a:sym typeface="Merriweather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/>
                <a:ea typeface="Merriweather Light"/>
                <a:cs typeface="Merriweather Light"/>
                <a:sym typeface="Merriweather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/>
                <a:ea typeface="Merriweather Light"/>
                <a:cs typeface="Merriweather Light"/>
                <a:sym typeface="Merriweather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/>
                <a:ea typeface="Merriweather Light"/>
                <a:cs typeface="Merriweather Light"/>
                <a:sym typeface="Merriweather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/>
                <a:ea typeface="Merriweather Light"/>
                <a:cs typeface="Merriweather Light"/>
                <a:sym typeface="Merriweather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/>
                <a:ea typeface="Merriweather Light"/>
                <a:cs typeface="Merriweather Light"/>
                <a:sym typeface="Merriweather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/>
                <a:ea typeface="Merriweather Light"/>
                <a:cs typeface="Merriweather Light"/>
                <a:sym typeface="Merriweather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/>
                <a:ea typeface="Merriweather Light"/>
                <a:cs typeface="Merriweather Light"/>
                <a:sym typeface="Merriweather Light"/>
              </a:defRPr>
            </a:lvl9pPr>
          </a:lstStyle>
          <a:p>
            <a:endParaRPr/>
          </a:p>
        </p:txBody>
      </p:sp>
      <p:cxnSp>
        <p:nvCxnSpPr>
          <p:cNvPr id="408" name="Google Shape;408;p45"/>
          <p:cNvCxnSpPr/>
          <p:nvPr/>
        </p:nvCxnSpPr>
        <p:spPr>
          <a:xfrm>
            <a:off x="-72550" y="27410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09" name="Google Shape;409;p45"/>
          <p:cNvCxnSpPr/>
          <p:nvPr/>
        </p:nvCxnSpPr>
        <p:spPr>
          <a:xfrm>
            <a:off x="-72550" y="487745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10" name="Google Shape;410;p45"/>
          <p:cNvCxnSpPr/>
          <p:nvPr/>
        </p:nvCxnSpPr>
        <p:spPr>
          <a:xfrm flipH="1">
            <a:off x="6772150" y="3663450"/>
            <a:ext cx="2823300" cy="1633200"/>
          </a:xfrm>
          <a:prstGeom prst="curvedConnector3">
            <a:avLst>
              <a:gd name="adj1" fmla="val 50000"/>
            </a:avLst>
          </a:prstGeom>
          <a:noFill/>
          <a:ln w="2857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 1">
  <p:cSld name="CUSTOM_29">
    <p:spTree>
      <p:nvGrpSpPr>
        <p:cNvPr id="1" name="Shape 4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12" name="Google Shape;412;p46"/>
          <p:cNvCxnSpPr/>
          <p:nvPr/>
        </p:nvCxnSpPr>
        <p:spPr>
          <a:xfrm>
            <a:off x="-72550" y="27410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13" name="Google Shape;413;p46"/>
          <p:cNvCxnSpPr/>
          <p:nvPr/>
        </p:nvCxnSpPr>
        <p:spPr>
          <a:xfrm>
            <a:off x="-72550" y="487745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14" name="Google Shape;414;p46"/>
          <p:cNvCxnSpPr/>
          <p:nvPr/>
        </p:nvCxnSpPr>
        <p:spPr>
          <a:xfrm>
            <a:off x="-250225" y="4076450"/>
            <a:ext cx="1926900" cy="1161000"/>
          </a:xfrm>
          <a:prstGeom prst="curvedConnector3">
            <a:avLst>
              <a:gd name="adj1" fmla="val 50000"/>
            </a:avLst>
          </a:prstGeom>
          <a:noFill/>
          <a:ln w="2857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15" name="Google Shape;415;p46"/>
          <p:cNvCxnSpPr/>
          <p:nvPr/>
        </p:nvCxnSpPr>
        <p:spPr>
          <a:xfrm>
            <a:off x="7441150" y="-48375"/>
            <a:ext cx="1926900" cy="1161000"/>
          </a:xfrm>
          <a:prstGeom prst="curvedConnector3">
            <a:avLst>
              <a:gd name="adj1" fmla="val 50000"/>
            </a:avLst>
          </a:prstGeom>
          <a:noFill/>
          <a:ln w="2857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16" name="Google Shape;416;p46"/>
          <p:cNvCxnSpPr/>
          <p:nvPr/>
        </p:nvCxnSpPr>
        <p:spPr>
          <a:xfrm flipH="1">
            <a:off x="7454238" y="4053663"/>
            <a:ext cx="1926900" cy="1161000"/>
          </a:xfrm>
          <a:prstGeom prst="curvedConnector3">
            <a:avLst>
              <a:gd name="adj1" fmla="val 50000"/>
            </a:avLst>
          </a:prstGeom>
          <a:noFill/>
          <a:ln w="2857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17" name="Google Shape;417;p46"/>
          <p:cNvCxnSpPr/>
          <p:nvPr/>
        </p:nvCxnSpPr>
        <p:spPr>
          <a:xfrm flipH="1">
            <a:off x="-237137" y="-71162"/>
            <a:ext cx="1926900" cy="1161000"/>
          </a:xfrm>
          <a:prstGeom prst="curvedConnector3">
            <a:avLst>
              <a:gd name="adj1" fmla="val 50000"/>
            </a:avLst>
          </a:prstGeom>
          <a:noFill/>
          <a:ln w="2857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418" name="Google Shape;418;p46"/>
          <p:cNvSpPr txBox="1">
            <a:spLocks noGrp="1"/>
          </p:cNvSpPr>
          <p:nvPr>
            <p:ph type="title"/>
          </p:nvPr>
        </p:nvSpPr>
        <p:spPr>
          <a:xfrm>
            <a:off x="1531650" y="445025"/>
            <a:ext cx="60807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/>
                <a:ea typeface="Merriweather Light"/>
                <a:cs typeface="Merriweather Light"/>
                <a:sym typeface="Merriweather Light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/>
                <a:ea typeface="Merriweather Light"/>
                <a:cs typeface="Merriweather Light"/>
                <a:sym typeface="Merriweather Light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/>
                <a:ea typeface="Merriweather Light"/>
                <a:cs typeface="Merriweather Light"/>
                <a:sym typeface="Merriweather Light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/>
                <a:ea typeface="Merriweather Light"/>
                <a:cs typeface="Merriweather Light"/>
                <a:sym typeface="Merriweather Light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/>
                <a:ea typeface="Merriweather Light"/>
                <a:cs typeface="Merriweather Light"/>
                <a:sym typeface="Merriweather Light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/>
                <a:ea typeface="Merriweather Light"/>
                <a:cs typeface="Merriweather Light"/>
                <a:sym typeface="Merriweather Light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/>
                <a:ea typeface="Merriweather Light"/>
                <a:cs typeface="Merriweather Light"/>
                <a:sym typeface="Merriweather Light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/>
                <a:ea typeface="Merriweather Light"/>
                <a:cs typeface="Merriweather Light"/>
                <a:sym typeface="Merriweather Light"/>
              </a:defRPr>
            </a:lvl9pPr>
          </a:lstStyle>
          <a:p>
            <a:endParaRPr/>
          </a:p>
        </p:txBody>
      </p:sp>
      <p:sp>
        <p:nvSpPr>
          <p:cNvPr id="419" name="Google Shape;419;p46"/>
          <p:cNvSpPr txBox="1">
            <a:spLocks noGrp="1"/>
          </p:cNvSpPr>
          <p:nvPr>
            <p:ph type="subTitle" idx="1"/>
          </p:nvPr>
        </p:nvSpPr>
        <p:spPr>
          <a:xfrm>
            <a:off x="4525188" y="1537663"/>
            <a:ext cx="3957600" cy="2889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R="3810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Char char="●"/>
              <a:defRPr sz="14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Char char="○"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Char char="■"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Char char="●"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Char char="○"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Char char="■"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Char char="●"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Char char="○"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20" name="Google Shape;420;p46"/>
          <p:cNvSpPr txBox="1">
            <a:spLocks noGrp="1"/>
          </p:cNvSpPr>
          <p:nvPr>
            <p:ph type="subTitle" idx="2"/>
          </p:nvPr>
        </p:nvSpPr>
        <p:spPr>
          <a:xfrm>
            <a:off x="661213" y="1537663"/>
            <a:ext cx="3957600" cy="2889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R="3810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Char char="●"/>
              <a:defRPr sz="14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Char char="○"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Char char="■"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Char char="●"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Char char="○"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Char char="■"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Char char="●"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Char char="○"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Char char="■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 2">
  <p:cSld name="CUSTOM_9">
    <p:spTree>
      <p:nvGrpSpPr>
        <p:cNvPr id="1" name="Shape 4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2" name="Google Shape;422;p47"/>
          <p:cNvSpPr txBox="1">
            <a:spLocks noGrp="1"/>
          </p:cNvSpPr>
          <p:nvPr>
            <p:ph type="subTitle" idx="1"/>
          </p:nvPr>
        </p:nvSpPr>
        <p:spPr>
          <a:xfrm>
            <a:off x="4816075" y="3616375"/>
            <a:ext cx="2942100" cy="357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9pPr>
          </a:lstStyle>
          <a:p>
            <a:endParaRPr/>
          </a:p>
        </p:txBody>
      </p:sp>
      <p:sp>
        <p:nvSpPr>
          <p:cNvPr id="423" name="Google Shape;423;p47"/>
          <p:cNvSpPr txBox="1">
            <a:spLocks noGrp="1"/>
          </p:cNvSpPr>
          <p:nvPr>
            <p:ph type="subTitle" idx="2"/>
          </p:nvPr>
        </p:nvSpPr>
        <p:spPr>
          <a:xfrm>
            <a:off x="4816200" y="3956375"/>
            <a:ext cx="2941800" cy="652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4" name="Google Shape;424;p47"/>
          <p:cNvSpPr txBox="1">
            <a:spLocks noGrp="1"/>
          </p:cNvSpPr>
          <p:nvPr>
            <p:ph type="subTitle" idx="3"/>
          </p:nvPr>
        </p:nvSpPr>
        <p:spPr>
          <a:xfrm>
            <a:off x="1385829" y="3616375"/>
            <a:ext cx="2942100" cy="357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9pPr>
          </a:lstStyle>
          <a:p>
            <a:endParaRPr/>
          </a:p>
        </p:txBody>
      </p:sp>
      <p:sp>
        <p:nvSpPr>
          <p:cNvPr id="425" name="Google Shape;425;p47"/>
          <p:cNvSpPr txBox="1">
            <a:spLocks noGrp="1"/>
          </p:cNvSpPr>
          <p:nvPr>
            <p:ph type="subTitle" idx="4"/>
          </p:nvPr>
        </p:nvSpPr>
        <p:spPr>
          <a:xfrm>
            <a:off x="1386025" y="3956375"/>
            <a:ext cx="2941800" cy="652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6" name="Google Shape;426;p47"/>
          <p:cNvSpPr txBox="1">
            <a:spLocks noGrp="1"/>
          </p:cNvSpPr>
          <p:nvPr>
            <p:ph type="title"/>
          </p:nvPr>
        </p:nvSpPr>
        <p:spPr>
          <a:xfrm>
            <a:off x="713225" y="445025"/>
            <a:ext cx="27291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/>
                <a:ea typeface="Merriweather Light"/>
                <a:cs typeface="Merriweather Light"/>
                <a:sym typeface="Merriweather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/>
                <a:ea typeface="Merriweather Light"/>
                <a:cs typeface="Merriweather Light"/>
                <a:sym typeface="Merriweather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/>
                <a:ea typeface="Merriweather Light"/>
                <a:cs typeface="Merriweather Light"/>
                <a:sym typeface="Merriweather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/>
                <a:ea typeface="Merriweather Light"/>
                <a:cs typeface="Merriweather Light"/>
                <a:sym typeface="Merriweather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/>
                <a:ea typeface="Merriweather Light"/>
                <a:cs typeface="Merriweather Light"/>
                <a:sym typeface="Merriweather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/>
                <a:ea typeface="Merriweather Light"/>
                <a:cs typeface="Merriweather Light"/>
                <a:sym typeface="Merriweather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/>
                <a:ea typeface="Merriweather Light"/>
                <a:cs typeface="Merriweather Light"/>
                <a:sym typeface="Merriweather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/>
                <a:ea typeface="Merriweather Light"/>
                <a:cs typeface="Merriweather Light"/>
                <a:sym typeface="Merriweather Light"/>
              </a:defRPr>
            </a:lvl9pPr>
          </a:lstStyle>
          <a:p>
            <a:endParaRPr/>
          </a:p>
        </p:txBody>
      </p:sp>
      <p:cxnSp>
        <p:nvCxnSpPr>
          <p:cNvPr id="427" name="Google Shape;427;p47"/>
          <p:cNvCxnSpPr/>
          <p:nvPr/>
        </p:nvCxnSpPr>
        <p:spPr>
          <a:xfrm>
            <a:off x="-72550" y="27410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28" name="Google Shape;428;p47"/>
          <p:cNvCxnSpPr/>
          <p:nvPr/>
        </p:nvCxnSpPr>
        <p:spPr>
          <a:xfrm>
            <a:off x="-72550" y="487745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hree columns 4">
  <p:cSld name="CUSTOM_31">
    <p:spTree>
      <p:nvGrpSpPr>
        <p:cNvPr id="1" name="Shape 4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" name="Google Shape;430;p48"/>
          <p:cNvSpPr txBox="1">
            <a:spLocks noGrp="1"/>
          </p:cNvSpPr>
          <p:nvPr>
            <p:ph type="title"/>
          </p:nvPr>
        </p:nvSpPr>
        <p:spPr>
          <a:xfrm>
            <a:off x="1244250" y="445025"/>
            <a:ext cx="66555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/>
                <a:ea typeface="Merriweather Light"/>
                <a:cs typeface="Merriweather Light"/>
                <a:sym typeface="Merriweather Light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/>
                <a:ea typeface="Merriweather Light"/>
                <a:cs typeface="Merriweather Light"/>
                <a:sym typeface="Merriweather Light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/>
                <a:ea typeface="Merriweather Light"/>
                <a:cs typeface="Merriweather Light"/>
                <a:sym typeface="Merriweather Light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/>
                <a:ea typeface="Merriweather Light"/>
                <a:cs typeface="Merriweather Light"/>
                <a:sym typeface="Merriweather Light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/>
                <a:ea typeface="Merriweather Light"/>
                <a:cs typeface="Merriweather Light"/>
                <a:sym typeface="Merriweather Light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/>
                <a:ea typeface="Merriweather Light"/>
                <a:cs typeface="Merriweather Light"/>
                <a:sym typeface="Merriweather Light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/>
                <a:ea typeface="Merriweather Light"/>
                <a:cs typeface="Merriweather Light"/>
                <a:sym typeface="Merriweather Light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Merriweather Light"/>
                <a:ea typeface="Merriweather Light"/>
                <a:cs typeface="Merriweather Light"/>
                <a:sym typeface="Merriweather Light"/>
              </a:defRPr>
            </a:lvl9pPr>
          </a:lstStyle>
          <a:p>
            <a:endParaRPr/>
          </a:p>
        </p:txBody>
      </p:sp>
      <p:sp>
        <p:nvSpPr>
          <p:cNvPr id="431" name="Google Shape;431;p48"/>
          <p:cNvSpPr txBox="1">
            <a:spLocks noGrp="1"/>
          </p:cNvSpPr>
          <p:nvPr>
            <p:ph type="subTitle" idx="1"/>
          </p:nvPr>
        </p:nvSpPr>
        <p:spPr>
          <a:xfrm>
            <a:off x="3509000" y="3398751"/>
            <a:ext cx="2126100" cy="444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9pPr>
          </a:lstStyle>
          <a:p>
            <a:endParaRPr/>
          </a:p>
        </p:txBody>
      </p:sp>
      <p:sp>
        <p:nvSpPr>
          <p:cNvPr id="432" name="Google Shape;432;p48"/>
          <p:cNvSpPr txBox="1">
            <a:spLocks noGrp="1"/>
          </p:cNvSpPr>
          <p:nvPr>
            <p:ph type="subTitle" idx="2"/>
          </p:nvPr>
        </p:nvSpPr>
        <p:spPr>
          <a:xfrm>
            <a:off x="3509025" y="3814950"/>
            <a:ext cx="2126100" cy="886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dk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3" name="Google Shape;433;p48"/>
          <p:cNvSpPr txBox="1">
            <a:spLocks noGrp="1"/>
          </p:cNvSpPr>
          <p:nvPr>
            <p:ph type="subTitle" idx="3"/>
          </p:nvPr>
        </p:nvSpPr>
        <p:spPr>
          <a:xfrm>
            <a:off x="953025" y="3398751"/>
            <a:ext cx="2126100" cy="444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9pPr>
          </a:lstStyle>
          <a:p>
            <a:endParaRPr/>
          </a:p>
        </p:txBody>
      </p:sp>
      <p:sp>
        <p:nvSpPr>
          <p:cNvPr id="434" name="Google Shape;434;p48"/>
          <p:cNvSpPr txBox="1">
            <a:spLocks noGrp="1"/>
          </p:cNvSpPr>
          <p:nvPr>
            <p:ph type="subTitle" idx="4"/>
          </p:nvPr>
        </p:nvSpPr>
        <p:spPr>
          <a:xfrm>
            <a:off x="953125" y="3814951"/>
            <a:ext cx="2126100" cy="886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dk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5" name="Google Shape;435;p48"/>
          <p:cNvSpPr txBox="1">
            <a:spLocks noGrp="1"/>
          </p:cNvSpPr>
          <p:nvPr>
            <p:ph type="subTitle" idx="5"/>
          </p:nvPr>
        </p:nvSpPr>
        <p:spPr>
          <a:xfrm>
            <a:off x="6064875" y="3398751"/>
            <a:ext cx="2126100" cy="444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9pPr>
          </a:lstStyle>
          <a:p>
            <a:endParaRPr/>
          </a:p>
        </p:txBody>
      </p:sp>
      <p:sp>
        <p:nvSpPr>
          <p:cNvPr id="436" name="Google Shape;436;p48"/>
          <p:cNvSpPr txBox="1">
            <a:spLocks noGrp="1"/>
          </p:cNvSpPr>
          <p:nvPr>
            <p:ph type="subTitle" idx="6"/>
          </p:nvPr>
        </p:nvSpPr>
        <p:spPr>
          <a:xfrm>
            <a:off x="6064875" y="3814950"/>
            <a:ext cx="2126100" cy="886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dk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437" name="Google Shape;437;p48"/>
          <p:cNvCxnSpPr/>
          <p:nvPr/>
        </p:nvCxnSpPr>
        <p:spPr>
          <a:xfrm>
            <a:off x="-72550" y="27410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38" name="Google Shape;438;p48"/>
          <p:cNvCxnSpPr/>
          <p:nvPr/>
        </p:nvCxnSpPr>
        <p:spPr>
          <a:xfrm>
            <a:off x="-72550" y="487745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39" name="Google Shape;439;p48"/>
          <p:cNvCxnSpPr/>
          <p:nvPr/>
        </p:nvCxnSpPr>
        <p:spPr>
          <a:xfrm>
            <a:off x="-250225" y="4076450"/>
            <a:ext cx="1926900" cy="1161000"/>
          </a:xfrm>
          <a:prstGeom prst="curvedConnector3">
            <a:avLst>
              <a:gd name="adj1" fmla="val 50000"/>
            </a:avLst>
          </a:prstGeom>
          <a:noFill/>
          <a:ln w="2857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40" name="Google Shape;440;p48"/>
          <p:cNvCxnSpPr/>
          <p:nvPr/>
        </p:nvCxnSpPr>
        <p:spPr>
          <a:xfrm>
            <a:off x="7441150" y="-48375"/>
            <a:ext cx="1926900" cy="1161000"/>
          </a:xfrm>
          <a:prstGeom prst="curvedConnector3">
            <a:avLst>
              <a:gd name="adj1" fmla="val 50000"/>
            </a:avLst>
          </a:prstGeom>
          <a:noFill/>
          <a:ln w="2857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s">
  <p:cSld name="CUSTOM_1">
    <p:spTree>
      <p:nvGrpSpPr>
        <p:cNvPr id="1" name="Shape 4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2" name="Google Shape;442;p49"/>
          <p:cNvSpPr txBox="1">
            <a:spLocks noGrp="1"/>
          </p:cNvSpPr>
          <p:nvPr>
            <p:ph type="title"/>
          </p:nvPr>
        </p:nvSpPr>
        <p:spPr>
          <a:xfrm>
            <a:off x="2832900" y="791200"/>
            <a:ext cx="3478200" cy="922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5300"/>
              <a:buNone/>
              <a:defRPr sz="70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Open Sans"/>
                <a:ea typeface="Open Sans"/>
                <a:cs typeface="Open Sans"/>
                <a:sym typeface="Open Sans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Open Sans"/>
                <a:ea typeface="Open Sans"/>
                <a:cs typeface="Open Sans"/>
                <a:sym typeface="Open Sans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Open Sans"/>
                <a:ea typeface="Open Sans"/>
                <a:cs typeface="Open Sans"/>
                <a:sym typeface="Open Sans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Open Sans"/>
                <a:ea typeface="Open Sans"/>
                <a:cs typeface="Open Sans"/>
                <a:sym typeface="Open Sans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Open Sans"/>
                <a:ea typeface="Open Sans"/>
                <a:cs typeface="Open Sans"/>
                <a:sym typeface="Open Sans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Open Sans"/>
                <a:ea typeface="Open Sans"/>
                <a:cs typeface="Open Sans"/>
                <a:sym typeface="Open Sans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Open Sans"/>
                <a:ea typeface="Open Sans"/>
                <a:cs typeface="Open Sans"/>
                <a:sym typeface="Open Sans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endParaRPr/>
          </a:p>
        </p:txBody>
      </p:sp>
      <p:sp>
        <p:nvSpPr>
          <p:cNvPr id="443" name="Google Shape;443;p49"/>
          <p:cNvSpPr txBox="1">
            <a:spLocks noGrp="1"/>
          </p:cNvSpPr>
          <p:nvPr>
            <p:ph type="subTitle" idx="1"/>
          </p:nvPr>
        </p:nvSpPr>
        <p:spPr>
          <a:xfrm>
            <a:off x="2983350" y="1749425"/>
            <a:ext cx="3177300" cy="922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4" name="Google Shape;444;p49"/>
          <p:cNvSpPr txBox="1"/>
          <p:nvPr/>
        </p:nvSpPr>
        <p:spPr>
          <a:xfrm>
            <a:off x="2900450" y="3438275"/>
            <a:ext cx="3343200" cy="71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 b="1">
                <a:solidFill>
                  <a:schemeClr val="dk2"/>
                </a:solidFill>
                <a:latin typeface="Montserrat"/>
                <a:ea typeface="Montserrat"/>
                <a:cs typeface="Montserrat"/>
                <a:sym typeface="Montserrat"/>
              </a:rPr>
              <a:t>CREDITS</a:t>
            </a:r>
            <a:r>
              <a:rPr lang="en" sz="1100">
                <a:solidFill>
                  <a:schemeClr val="dk2"/>
                </a:solidFill>
                <a:latin typeface="Montserrat"/>
                <a:ea typeface="Montserrat"/>
                <a:cs typeface="Montserrat"/>
                <a:sym typeface="Montserrat"/>
              </a:rPr>
              <a:t>: This presentation template was created by </a:t>
            </a:r>
            <a:r>
              <a:rPr lang="en" sz="1100" b="1">
                <a:solidFill>
                  <a:schemeClr val="dk2"/>
                </a:solidFill>
                <a:uFill>
                  <a:noFill/>
                </a:uFill>
                <a:latin typeface="Montserrat"/>
                <a:ea typeface="Montserrat"/>
                <a:cs typeface="Montserrat"/>
                <a:sym typeface="Montserrat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lidesgo</a:t>
            </a:r>
            <a:r>
              <a:rPr lang="en" sz="1100">
                <a:solidFill>
                  <a:schemeClr val="dk2"/>
                </a:solidFill>
                <a:latin typeface="Montserrat"/>
                <a:ea typeface="Montserrat"/>
                <a:cs typeface="Montserrat"/>
                <a:sym typeface="Montserrat"/>
              </a:rPr>
              <a:t>, including icons by </a:t>
            </a:r>
            <a:r>
              <a:rPr lang="en" sz="1100" b="1">
                <a:solidFill>
                  <a:schemeClr val="dk2"/>
                </a:solidFill>
                <a:uFill>
                  <a:noFill/>
                </a:uFill>
                <a:latin typeface="Montserrat"/>
                <a:ea typeface="Montserrat"/>
                <a:cs typeface="Montserrat"/>
                <a:sym typeface="Montserrat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laticon</a:t>
            </a:r>
            <a:r>
              <a:rPr lang="en" sz="1100">
                <a:solidFill>
                  <a:schemeClr val="dk2"/>
                </a:solidFill>
                <a:latin typeface="Montserrat"/>
                <a:ea typeface="Montserrat"/>
                <a:cs typeface="Montserrat"/>
                <a:sym typeface="Montserrat"/>
              </a:rPr>
              <a:t>, infographics &amp; images by </a:t>
            </a:r>
            <a:r>
              <a:rPr lang="en" sz="1100" b="1">
                <a:solidFill>
                  <a:schemeClr val="dk2"/>
                </a:solidFill>
                <a:uFill>
                  <a:noFill/>
                </a:uFill>
                <a:latin typeface="Montserrat"/>
                <a:ea typeface="Montserrat"/>
                <a:cs typeface="Montserrat"/>
                <a:sym typeface="Montserrat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reepik</a:t>
            </a:r>
            <a:endParaRPr sz="1100" b="1">
              <a:solidFill>
                <a:schemeClr val="dk2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cxnSp>
        <p:nvCxnSpPr>
          <p:cNvPr id="445" name="Google Shape;445;p49"/>
          <p:cNvCxnSpPr/>
          <p:nvPr/>
        </p:nvCxnSpPr>
        <p:spPr>
          <a:xfrm>
            <a:off x="-72550" y="487745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46" name="Google Shape;446;p49"/>
          <p:cNvCxnSpPr/>
          <p:nvPr/>
        </p:nvCxnSpPr>
        <p:spPr>
          <a:xfrm>
            <a:off x="-257975" y="3935375"/>
            <a:ext cx="3047400" cy="1346400"/>
          </a:xfrm>
          <a:prstGeom prst="curvedConnector3">
            <a:avLst>
              <a:gd name="adj1" fmla="val 50000"/>
            </a:avLst>
          </a:prstGeom>
          <a:noFill/>
          <a:ln w="2857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47" name="Google Shape;447;p49"/>
          <p:cNvCxnSpPr/>
          <p:nvPr/>
        </p:nvCxnSpPr>
        <p:spPr>
          <a:xfrm>
            <a:off x="-72550" y="27410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48" name="Google Shape;448;p49"/>
          <p:cNvCxnSpPr/>
          <p:nvPr/>
        </p:nvCxnSpPr>
        <p:spPr>
          <a:xfrm>
            <a:off x="6467450" y="-72550"/>
            <a:ext cx="3047400" cy="1346400"/>
          </a:xfrm>
          <a:prstGeom prst="curvedConnector3">
            <a:avLst>
              <a:gd name="adj1" fmla="val 50000"/>
            </a:avLst>
          </a:prstGeom>
          <a:noFill/>
          <a:ln w="2857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">
  <p:cSld name="CUSTOM_10">
    <p:spTree>
      <p:nvGrpSpPr>
        <p:cNvPr id="1" name="Shape 4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50" name="Google Shape;450;p50"/>
          <p:cNvCxnSpPr/>
          <p:nvPr/>
        </p:nvCxnSpPr>
        <p:spPr>
          <a:xfrm>
            <a:off x="-72550" y="487745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51" name="Google Shape;451;p50"/>
          <p:cNvCxnSpPr/>
          <p:nvPr/>
        </p:nvCxnSpPr>
        <p:spPr>
          <a:xfrm>
            <a:off x="-72550" y="27410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1">
  <p:cSld name="CUSTOM_10_1">
    <p:spTree>
      <p:nvGrpSpPr>
        <p:cNvPr id="1" name="Shape 4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53" name="Google Shape;453;p51"/>
          <p:cNvCxnSpPr/>
          <p:nvPr/>
        </p:nvCxnSpPr>
        <p:spPr>
          <a:xfrm>
            <a:off x="-72550" y="487745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54" name="Google Shape;454;p51"/>
          <p:cNvCxnSpPr/>
          <p:nvPr/>
        </p:nvCxnSpPr>
        <p:spPr>
          <a:xfrm>
            <a:off x="-72550" y="27410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55" name="Google Shape;455;p51"/>
          <p:cNvCxnSpPr/>
          <p:nvPr/>
        </p:nvCxnSpPr>
        <p:spPr>
          <a:xfrm>
            <a:off x="7434175" y="-125600"/>
            <a:ext cx="1993200" cy="1330200"/>
          </a:xfrm>
          <a:prstGeom prst="curvedConnector3">
            <a:avLst>
              <a:gd name="adj1" fmla="val 50000"/>
            </a:avLst>
          </a:prstGeom>
          <a:noFill/>
          <a:ln w="2857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56" name="Google Shape;456;p51"/>
          <p:cNvCxnSpPr/>
          <p:nvPr/>
        </p:nvCxnSpPr>
        <p:spPr>
          <a:xfrm>
            <a:off x="-147275" y="3943475"/>
            <a:ext cx="1993200" cy="1330200"/>
          </a:xfrm>
          <a:prstGeom prst="curvedConnector3">
            <a:avLst>
              <a:gd name="adj1" fmla="val 50000"/>
            </a:avLst>
          </a:prstGeom>
          <a:noFill/>
          <a:ln w="2857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Google Shape;39;p6"/>
          <p:cNvSpPr txBox="1">
            <a:spLocks noGrp="1"/>
          </p:cNvSpPr>
          <p:nvPr>
            <p:ph type="title"/>
          </p:nvPr>
        </p:nvSpPr>
        <p:spPr>
          <a:xfrm>
            <a:off x="713225" y="445025"/>
            <a:ext cx="77175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9pPr>
          </a:lstStyle>
          <a:p>
            <a:endParaRPr/>
          </a:p>
        </p:txBody>
      </p:sp>
      <p:cxnSp>
        <p:nvCxnSpPr>
          <p:cNvPr id="40" name="Google Shape;40;p6"/>
          <p:cNvCxnSpPr/>
          <p:nvPr/>
        </p:nvCxnSpPr>
        <p:spPr>
          <a:xfrm>
            <a:off x="-72550" y="27410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1" name="Google Shape;41;p6"/>
          <p:cNvCxnSpPr/>
          <p:nvPr/>
        </p:nvCxnSpPr>
        <p:spPr>
          <a:xfrm>
            <a:off x="-72550" y="487745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2">
  <p:cSld name="CUSTOM_10_1_1">
    <p:spTree>
      <p:nvGrpSpPr>
        <p:cNvPr id="1" name="Shape 4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58" name="Google Shape;458;p52"/>
          <p:cNvCxnSpPr/>
          <p:nvPr/>
        </p:nvCxnSpPr>
        <p:spPr>
          <a:xfrm>
            <a:off x="-72550" y="487745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59" name="Google Shape;459;p52"/>
          <p:cNvCxnSpPr/>
          <p:nvPr/>
        </p:nvCxnSpPr>
        <p:spPr>
          <a:xfrm>
            <a:off x="-72550" y="27410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60" name="Google Shape;460;p52"/>
          <p:cNvCxnSpPr/>
          <p:nvPr/>
        </p:nvCxnSpPr>
        <p:spPr>
          <a:xfrm flipH="1">
            <a:off x="6772150" y="3663450"/>
            <a:ext cx="2823300" cy="1633200"/>
          </a:xfrm>
          <a:prstGeom prst="curvedConnector3">
            <a:avLst>
              <a:gd name="adj1" fmla="val 50000"/>
            </a:avLst>
          </a:prstGeom>
          <a:noFill/>
          <a:ln w="2857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3">
  <p:cSld name="CUSTOM_30">
    <p:spTree>
      <p:nvGrpSpPr>
        <p:cNvPr id="1" name="Shape 4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62" name="Google Shape;462;p53"/>
          <p:cNvCxnSpPr/>
          <p:nvPr/>
        </p:nvCxnSpPr>
        <p:spPr>
          <a:xfrm>
            <a:off x="-72550" y="27410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63" name="Google Shape;463;p53"/>
          <p:cNvCxnSpPr/>
          <p:nvPr/>
        </p:nvCxnSpPr>
        <p:spPr>
          <a:xfrm>
            <a:off x="-72550" y="487745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64" name="Google Shape;464;p53"/>
          <p:cNvCxnSpPr/>
          <p:nvPr/>
        </p:nvCxnSpPr>
        <p:spPr>
          <a:xfrm>
            <a:off x="-250225" y="4076450"/>
            <a:ext cx="1926900" cy="1161000"/>
          </a:xfrm>
          <a:prstGeom prst="curvedConnector3">
            <a:avLst>
              <a:gd name="adj1" fmla="val 50000"/>
            </a:avLst>
          </a:prstGeom>
          <a:noFill/>
          <a:ln w="2857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65" name="Google Shape;465;p53"/>
          <p:cNvCxnSpPr/>
          <p:nvPr/>
        </p:nvCxnSpPr>
        <p:spPr>
          <a:xfrm>
            <a:off x="7441150" y="-48375"/>
            <a:ext cx="1926900" cy="1161000"/>
          </a:xfrm>
          <a:prstGeom prst="curvedConnector3">
            <a:avLst>
              <a:gd name="adj1" fmla="val 50000"/>
            </a:avLst>
          </a:prstGeom>
          <a:noFill/>
          <a:ln w="2857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66" name="Google Shape;466;p53"/>
          <p:cNvCxnSpPr/>
          <p:nvPr/>
        </p:nvCxnSpPr>
        <p:spPr>
          <a:xfrm flipH="1">
            <a:off x="7454238" y="4053663"/>
            <a:ext cx="1926900" cy="1161000"/>
          </a:xfrm>
          <a:prstGeom prst="curvedConnector3">
            <a:avLst>
              <a:gd name="adj1" fmla="val 50000"/>
            </a:avLst>
          </a:prstGeom>
          <a:noFill/>
          <a:ln w="2857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67" name="Google Shape;467;p53"/>
          <p:cNvCxnSpPr/>
          <p:nvPr/>
        </p:nvCxnSpPr>
        <p:spPr>
          <a:xfrm flipH="1">
            <a:off x="-237137" y="-71162"/>
            <a:ext cx="1926900" cy="1161000"/>
          </a:xfrm>
          <a:prstGeom prst="curvedConnector3">
            <a:avLst>
              <a:gd name="adj1" fmla="val 50000"/>
            </a:avLst>
          </a:prstGeom>
          <a:noFill/>
          <a:ln w="2857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78655725"/>
              </p:ext>
            </p:extLst>
          </p:nvPr>
        </p:nvGraphicFramePr>
        <p:xfrm>
          <a:off x="1471" y="1200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1" y="1200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0" y="94627"/>
            <a:ext cx="8458200" cy="571500"/>
          </a:xfrm>
        </p:spPr>
        <p:txBody>
          <a:bodyPr>
            <a:normAutofit/>
          </a:bodyPr>
          <a:lstStyle>
            <a:lvl1pPr>
              <a:defRPr sz="1800"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49250" y="760343"/>
            <a:ext cx="8451850" cy="3983107"/>
          </a:xfrm>
        </p:spPr>
        <p:txBody>
          <a:bodyPr>
            <a:normAutofit/>
          </a:bodyPr>
          <a:lstStyle>
            <a:lvl1pPr marL="0" indent="0">
              <a:buNone/>
              <a:defRPr sz="1050"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515350" y="4767272"/>
            <a:ext cx="285750" cy="273844"/>
          </a:xfrm>
        </p:spPr>
        <p:txBody>
          <a:bodyPr/>
          <a:lstStyle/>
          <a:p>
            <a:fld id="{02B31C37-1934-4B1F-BCFB-9C805F677F6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7B346C09-2841-4584-9964-A6D394D23F2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49249" y="4767272"/>
            <a:ext cx="8108951" cy="273844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6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372024965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_COLUMN_TEXT">
    <p:spTree>
      <p:nvGrpSpPr>
        <p:cNvPr id="1" name="Shape 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Google Shape;43;p7"/>
          <p:cNvSpPr txBox="1">
            <a:spLocks noGrp="1"/>
          </p:cNvSpPr>
          <p:nvPr>
            <p:ph type="subTitle" idx="1"/>
          </p:nvPr>
        </p:nvSpPr>
        <p:spPr>
          <a:xfrm>
            <a:off x="2247500" y="1433050"/>
            <a:ext cx="1838100" cy="357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/>
              <a:buNone/>
              <a:defRPr sz="2400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/>
              <a:buNone/>
              <a:defRPr sz="2400" b="1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/>
              <a:buNone/>
              <a:defRPr sz="2400" b="1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/>
              <a:buNone/>
              <a:defRPr sz="2400" b="1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/>
              <a:buNone/>
              <a:defRPr sz="2400" b="1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/>
              <a:buNone/>
              <a:defRPr sz="2400" b="1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/>
              <a:buNone/>
              <a:defRPr sz="2400" b="1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/>
              <a:buNone/>
              <a:defRPr sz="2400" b="1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Vidaloka"/>
              <a:buNone/>
              <a:defRPr sz="2400" b="1">
                <a:solidFill>
                  <a:schemeClr val="accent1"/>
                </a:solidFill>
                <a:latin typeface="Vidaloka"/>
                <a:ea typeface="Vidaloka"/>
                <a:cs typeface="Vidaloka"/>
                <a:sym typeface="Vidaloka"/>
              </a:defRPr>
            </a:lvl9pPr>
          </a:lstStyle>
          <a:p>
            <a:endParaRPr/>
          </a:p>
        </p:txBody>
      </p:sp>
      <p:sp>
        <p:nvSpPr>
          <p:cNvPr id="44" name="Google Shape;44;p7"/>
          <p:cNvSpPr txBox="1">
            <a:spLocks noGrp="1"/>
          </p:cNvSpPr>
          <p:nvPr>
            <p:ph type="subTitle" idx="2"/>
          </p:nvPr>
        </p:nvSpPr>
        <p:spPr>
          <a:xfrm>
            <a:off x="2247500" y="1790050"/>
            <a:ext cx="5160300" cy="2754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R="50800" lvl="0" rtl="0">
              <a:lnSpc>
                <a:spcPct val="166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Char char="●"/>
              <a:defRPr sz="1400">
                <a:solidFill>
                  <a:srgbClr val="374957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Char char="○"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Char char="■"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Char char="●"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Char char="○"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Char char="■"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Char char="●"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Char char="○"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5" name="Google Shape;45;p7"/>
          <p:cNvSpPr txBox="1">
            <a:spLocks noGrp="1"/>
          </p:cNvSpPr>
          <p:nvPr>
            <p:ph type="title"/>
          </p:nvPr>
        </p:nvSpPr>
        <p:spPr>
          <a:xfrm>
            <a:off x="713225" y="445025"/>
            <a:ext cx="42972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9pPr>
          </a:lstStyle>
          <a:p>
            <a:endParaRPr/>
          </a:p>
        </p:txBody>
      </p:sp>
      <p:cxnSp>
        <p:nvCxnSpPr>
          <p:cNvPr id="46" name="Google Shape;46;p7"/>
          <p:cNvCxnSpPr/>
          <p:nvPr/>
        </p:nvCxnSpPr>
        <p:spPr>
          <a:xfrm>
            <a:off x="-72550" y="27410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7" name="Google Shape;47;p7"/>
          <p:cNvCxnSpPr/>
          <p:nvPr/>
        </p:nvCxnSpPr>
        <p:spPr>
          <a:xfrm>
            <a:off x="-72550" y="487745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_POINT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p8"/>
          <p:cNvSpPr txBox="1">
            <a:spLocks noGrp="1"/>
          </p:cNvSpPr>
          <p:nvPr>
            <p:ph type="title"/>
          </p:nvPr>
        </p:nvSpPr>
        <p:spPr>
          <a:xfrm>
            <a:off x="1122500" y="1073000"/>
            <a:ext cx="6899100" cy="2856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9600"/>
            </a:lvl1pPr>
            <a:lvl2pPr lvl="1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cxnSp>
        <p:nvCxnSpPr>
          <p:cNvPr id="50" name="Google Shape;50;p8"/>
          <p:cNvCxnSpPr/>
          <p:nvPr/>
        </p:nvCxnSpPr>
        <p:spPr>
          <a:xfrm>
            <a:off x="-72550" y="27410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51" name="Google Shape;51;p8"/>
          <p:cNvCxnSpPr/>
          <p:nvPr/>
        </p:nvCxnSpPr>
        <p:spPr>
          <a:xfrm>
            <a:off x="-72550" y="487745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52" name="Google Shape;52;p8"/>
          <p:cNvCxnSpPr/>
          <p:nvPr/>
        </p:nvCxnSpPr>
        <p:spPr>
          <a:xfrm flipH="1">
            <a:off x="7093250" y="3935075"/>
            <a:ext cx="2332800" cy="1347000"/>
          </a:xfrm>
          <a:prstGeom prst="curvedConnector3">
            <a:avLst>
              <a:gd name="adj1" fmla="val 50000"/>
            </a:avLst>
          </a:prstGeom>
          <a:noFill/>
          <a:ln w="2857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53" name="Google Shape;53;p8"/>
          <p:cNvCxnSpPr/>
          <p:nvPr/>
        </p:nvCxnSpPr>
        <p:spPr>
          <a:xfrm flipH="1">
            <a:off x="-420450" y="-121600"/>
            <a:ext cx="2332800" cy="1347000"/>
          </a:xfrm>
          <a:prstGeom prst="curvedConnector3">
            <a:avLst>
              <a:gd name="adj1" fmla="val 50000"/>
            </a:avLst>
          </a:prstGeom>
          <a:noFill/>
          <a:ln w="2857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_TITLE_AND_DESCRIPTION"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9"/>
          <p:cNvSpPr txBox="1">
            <a:spLocks noGrp="1"/>
          </p:cNvSpPr>
          <p:nvPr>
            <p:ph type="subTitle" idx="1"/>
          </p:nvPr>
        </p:nvSpPr>
        <p:spPr>
          <a:xfrm>
            <a:off x="895950" y="1682000"/>
            <a:ext cx="3847200" cy="2379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Char char="●"/>
              <a:defRPr sz="14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56" name="Google Shape;56;p9"/>
          <p:cNvSpPr txBox="1">
            <a:spLocks noGrp="1"/>
          </p:cNvSpPr>
          <p:nvPr>
            <p:ph type="title"/>
          </p:nvPr>
        </p:nvSpPr>
        <p:spPr>
          <a:xfrm>
            <a:off x="713225" y="445025"/>
            <a:ext cx="56799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9pPr>
          </a:lstStyle>
          <a:p>
            <a:endParaRPr/>
          </a:p>
        </p:txBody>
      </p:sp>
      <p:cxnSp>
        <p:nvCxnSpPr>
          <p:cNvPr id="57" name="Google Shape;57;p9"/>
          <p:cNvCxnSpPr/>
          <p:nvPr/>
        </p:nvCxnSpPr>
        <p:spPr>
          <a:xfrm>
            <a:off x="-72550" y="27410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58" name="Google Shape;58;p9"/>
          <p:cNvCxnSpPr/>
          <p:nvPr/>
        </p:nvCxnSpPr>
        <p:spPr>
          <a:xfrm>
            <a:off x="-72550" y="487745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59" name="Google Shape;59;p9"/>
          <p:cNvCxnSpPr/>
          <p:nvPr/>
        </p:nvCxnSpPr>
        <p:spPr>
          <a:xfrm flipH="1">
            <a:off x="5925450" y="2797500"/>
            <a:ext cx="3378000" cy="2466900"/>
          </a:xfrm>
          <a:prstGeom prst="curvedConnector3">
            <a:avLst>
              <a:gd name="adj1" fmla="val 50000"/>
            </a:avLst>
          </a:prstGeom>
          <a:noFill/>
          <a:ln w="2857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_ONLY">
    <p:spTree>
      <p:nvGrpSpPr>
        <p:cNvPr id="1" name="Shape 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Google Shape;61;p10"/>
          <p:cNvSpPr txBox="1">
            <a:spLocks noGrp="1"/>
          </p:cNvSpPr>
          <p:nvPr>
            <p:ph type="body" idx="1"/>
          </p:nvPr>
        </p:nvSpPr>
        <p:spPr>
          <a:xfrm>
            <a:off x="713225" y="441927"/>
            <a:ext cx="3557100" cy="977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3000">
                <a:latin typeface="Vidaloka"/>
                <a:ea typeface="Vidaloka"/>
                <a:cs typeface="Vidaloka"/>
                <a:sym typeface="Vidaloka"/>
              </a:defRPr>
            </a:lvl1pPr>
          </a:lstStyle>
          <a:p>
            <a:endParaRPr/>
          </a:p>
        </p:txBody>
      </p:sp>
      <p:cxnSp>
        <p:nvCxnSpPr>
          <p:cNvPr id="62" name="Google Shape;62;p10"/>
          <p:cNvCxnSpPr/>
          <p:nvPr/>
        </p:nvCxnSpPr>
        <p:spPr>
          <a:xfrm>
            <a:off x="-72550" y="27410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63" name="Google Shape;63;p10"/>
          <p:cNvCxnSpPr/>
          <p:nvPr/>
        </p:nvCxnSpPr>
        <p:spPr>
          <a:xfrm>
            <a:off x="-72550" y="4877450"/>
            <a:ext cx="92874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64" name="Google Shape;64;p10"/>
          <p:cNvCxnSpPr/>
          <p:nvPr/>
        </p:nvCxnSpPr>
        <p:spPr>
          <a:xfrm rot="10800000" flipH="1">
            <a:off x="6144975" y="3103725"/>
            <a:ext cx="3118200" cy="2201100"/>
          </a:xfrm>
          <a:prstGeom prst="curvedConnector3">
            <a:avLst>
              <a:gd name="adj1" fmla="val 50000"/>
            </a:avLst>
          </a:prstGeom>
          <a:noFill/>
          <a:ln w="2857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0553724-2B13-7950-BD7A-09C8B820C2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5"/>
            </p:custDataLst>
            <p:extLst>
              <p:ext uri="{D42A27DB-BD31-4B8C-83A1-F6EECF244321}">
                <p14:modId xmlns:p14="http://schemas.microsoft.com/office/powerpoint/2010/main" val="8866017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56" imgW="395" imgH="396" progId="TCLayout.ActiveDocument.1">
                  <p:embed/>
                </p:oleObj>
              </mc:Choice>
              <mc:Fallback>
                <p:oleObj name="think-cell Slide" r:id="rId56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713225" y="445025"/>
            <a:ext cx="77175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Vidaloka"/>
              <a:buNone/>
              <a:defRPr sz="3000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None/>
              <a:defRPr sz="3000" i="1">
                <a:solidFill>
                  <a:schemeClr val="dk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None/>
              <a:defRPr sz="3000" i="1">
                <a:solidFill>
                  <a:schemeClr val="dk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None/>
              <a:defRPr sz="3000" i="1">
                <a:solidFill>
                  <a:schemeClr val="dk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None/>
              <a:defRPr sz="3000" i="1">
                <a:solidFill>
                  <a:schemeClr val="dk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None/>
              <a:defRPr sz="3000" i="1">
                <a:solidFill>
                  <a:schemeClr val="dk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None/>
              <a:defRPr sz="3000" i="1">
                <a:solidFill>
                  <a:schemeClr val="dk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None/>
              <a:defRPr sz="3000" i="1">
                <a:solidFill>
                  <a:schemeClr val="dk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None/>
              <a:defRPr sz="3000" i="1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713250" y="1152475"/>
            <a:ext cx="77175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Montserrat"/>
              <a:buChar char="●"/>
              <a:defRPr sz="1800">
                <a:solidFill>
                  <a:schemeClr val="dk2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L="914400" lvl="1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ontserrat"/>
              <a:buChar char="○"/>
              <a:defRPr>
                <a:solidFill>
                  <a:schemeClr val="dk2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marL="1371600" lvl="2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ontserrat"/>
              <a:buChar char="■"/>
              <a:defRPr>
                <a:solidFill>
                  <a:schemeClr val="dk2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marL="1828800" lvl="3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ontserrat"/>
              <a:buChar char="●"/>
              <a:defRPr>
                <a:solidFill>
                  <a:schemeClr val="dk2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marL="2286000" lvl="4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ontserrat"/>
              <a:buChar char="○"/>
              <a:defRPr>
                <a:solidFill>
                  <a:schemeClr val="dk2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marL="2743200" lvl="5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ontserrat"/>
              <a:buChar char="■"/>
              <a:defRPr>
                <a:solidFill>
                  <a:schemeClr val="dk2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marL="3200400" lvl="6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ontserrat"/>
              <a:buChar char="●"/>
              <a:defRPr>
                <a:solidFill>
                  <a:schemeClr val="dk2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marL="3657600" lvl="7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ontserrat"/>
              <a:buChar char="○"/>
              <a:defRPr>
                <a:solidFill>
                  <a:schemeClr val="dk2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marL="4114800" lvl="8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ontserrat"/>
              <a:buChar char="■"/>
              <a:defRPr>
                <a:solidFill>
                  <a:schemeClr val="dk2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  <p:sldLayoutId id="2147483668" r:id="rId20"/>
    <p:sldLayoutId id="2147483669" r:id="rId21"/>
    <p:sldLayoutId id="2147483670" r:id="rId22"/>
    <p:sldLayoutId id="2147483671" r:id="rId23"/>
    <p:sldLayoutId id="2147483672" r:id="rId24"/>
    <p:sldLayoutId id="2147483673" r:id="rId25"/>
    <p:sldLayoutId id="2147483674" r:id="rId26"/>
    <p:sldLayoutId id="2147483675" r:id="rId27"/>
    <p:sldLayoutId id="2147483676" r:id="rId28"/>
    <p:sldLayoutId id="2147483677" r:id="rId29"/>
    <p:sldLayoutId id="2147483678" r:id="rId30"/>
    <p:sldLayoutId id="2147483679" r:id="rId31"/>
    <p:sldLayoutId id="2147483680" r:id="rId32"/>
    <p:sldLayoutId id="2147483681" r:id="rId33"/>
    <p:sldLayoutId id="2147483682" r:id="rId34"/>
    <p:sldLayoutId id="2147483683" r:id="rId35"/>
    <p:sldLayoutId id="2147483684" r:id="rId36"/>
    <p:sldLayoutId id="2147483685" r:id="rId37"/>
    <p:sldLayoutId id="2147483686" r:id="rId38"/>
    <p:sldLayoutId id="2147483687" r:id="rId39"/>
    <p:sldLayoutId id="2147483688" r:id="rId40"/>
    <p:sldLayoutId id="2147483689" r:id="rId41"/>
    <p:sldLayoutId id="2147483690" r:id="rId42"/>
    <p:sldLayoutId id="2147483691" r:id="rId43"/>
    <p:sldLayoutId id="2147483692" r:id="rId44"/>
    <p:sldLayoutId id="2147483693" r:id="rId45"/>
    <p:sldLayoutId id="2147483694" r:id="rId46"/>
    <p:sldLayoutId id="2147483695" r:id="rId47"/>
    <p:sldLayoutId id="2147483696" r:id="rId48"/>
    <p:sldLayoutId id="2147483697" r:id="rId49"/>
    <p:sldLayoutId id="2147483698" r:id="rId50"/>
    <p:sldLayoutId id="2147483699" r:id="rId51"/>
    <p:sldLayoutId id="2147483701" r:id="rId52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13.jp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2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17.jp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21.jp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8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8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4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1.pn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8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mdpi.com/2079-9292/12/15/3256" TargetMode="External"/><Relationship Id="rId2" Type="http://schemas.openxmlformats.org/officeDocument/2006/relationships/hyperlink" Target="https://ieeexplore.ieee.org/document/9525747" TargetMode="Externa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link.springer.com/content/pdf/10.1007/978-3-319-62701-4_3.pdf" TargetMode="External"/><Relationship Id="rId4" Type="http://schemas.openxmlformats.org/officeDocument/2006/relationships/hyperlink" Target="https://link.springer.com/article/10.1007/s44196-022-00161-x" TargetMode="Externa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10" Type="http://schemas.openxmlformats.org/officeDocument/2006/relationships/image" Target="../media/image10.svg"/><Relationship Id="rId4" Type="http://schemas.openxmlformats.org/officeDocument/2006/relationships/image" Target="../media/image4.svg"/><Relationship Id="rId9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2" name="Google Shape;472;p54"/>
          <p:cNvSpPr txBox="1">
            <a:spLocks noGrp="1"/>
          </p:cNvSpPr>
          <p:nvPr>
            <p:ph type="ctrTitle"/>
          </p:nvPr>
        </p:nvSpPr>
        <p:spPr>
          <a:xfrm>
            <a:off x="1039950" y="1483100"/>
            <a:ext cx="7064100" cy="710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" sz="3500" b="1">
                <a:latin typeface="+mj-lt"/>
              </a:rPr>
              <a:t>Predictive Modeling of TV Sales</a:t>
            </a:r>
            <a:endParaRPr sz="2000">
              <a:latin typeface="+mj-lt"/>
            </a:endParaRPr>
          </a:p>
        </p:txBody>
      </p:sp>
      <p:sp>
        <p:nvSpPr>
          <p:cNvPr id="473" name="Google Shape;473;p54"/>
          <p:cNvSpPr txBox="1">
            <a:spLocks noGrp="1"/>
          </p:cNvSpPr>
          <p:nvPr>
            <p:ph type="subTitle" idx="4294967295"/>
          </p:nvPr>
        </p:nvSpPr>
        <p:spPr>
          <a:xfrm>
            <a:off x="3137700" y="2432474"/>
            <a:ext cx="2868600" cy="1689945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200" dirty="0">
                <a:latin typeface="+mj-lt"/>
              </a:rPr>
              <a:t>                     Presented by: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200" dirty="0">
                <a:latin typeface="+mj-lt"/>
              </a:rPr>
              <a:t> 	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200" dirty="0">
                <a:latin typeface="+mj-lt"/>
              </a:rPr>
              <a:t>	Christ Naim</a:t>
            </a:r>
            <a:endParaRPr sz="1200" dirty="0">
              <a:latin typeface="+mj-lt"/>
            </a:endParaRPr>
          </a:p>
          <a:p>
            <a:pPr marL="0" lvl="0" indent="0" algn="l" rtl="0">
              <a:spcBef>
                <a:spcPts val="1200"/>
              </a:spcBef>
              <a:spcAft>
                <a:spcPts val="0"/>
              </a:spcAft>
              <a:buNone/>
            </a:pPr>
            <a:r>
              <a:rPr lang="en" sz="1200" dirty="0">
                <a:latin typeface="+mj-lt"/>
              </a:rPr>
              <a:t>		    	Sasha Nasser</a:t>
            </a:r>
            <a:endParaRPr sz="1200" dirty="0">
              <a:latin typeface="+mj-lt"/>
            </a:endParaRPr>
          </a:p>
          <a:p>
            <a:pPr marL="0" lvl="0" indent="0" algn="l" rtl="0">
              <a:spcBef>
                <a:spcPts val="1200"/>
              </a:spcBef>
              <a:spcAft>
                <a:spcPts val="0"/>
              </a:spcAft>
              <a:buNone/>
            </a:pPr>
            <a:r>
              <a:rPr lang="en" sz="1200" dirty="0">
                <a:latin typeface="+mj-lt"/>
              </a:rPr>
              <a:t>		    	Romanos Rizk</a:t>
            </a:r>
            <a:endParaRPr sz="1200" dirty="0">
              <a:latin typeface="+mj-lt"/>
            </a:endParaRPr>
          </a:p>
          <a:p>
            <a:pPr marL="0" lvl="0" indent="0" algn="l" rtl="0">
              <a:spcBef>
                <a:spcPts val="1200"/>
              </a:spcBef>
              <a:spcAft>
                <a:spcPts val="1200"/>
              </a:spcAft>
              <a:buNone/>
            </a:pPr>
            <a:endParaRPr sz="1200" dirty="0">
              <a:latin typeface="+mj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/>
                                        <p:tgtEl>
                                          <p:spTgt spid="4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7" name="Google Shape;557;p64"/>
          <p:cNvSpPr txBox="1">
            <a:spLocks noGrp="1"/>
          </p:cNvSpPr>
          <p:nvPr>
            <p:ph type="title"/>
          </p:nvPr>
        </p:nvSpPr>
        <p:spPr>
          <a:xfrm>
            <a:off x="2714550" y="2376297"/>
            <a:ext cx="3714900" cy="818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000">
                <a:latin typeface="+mj-lt"/>
              </a:rPr>
              <a:t>Results</a:t>
            </a:r>
            <a:endParaRPr sz="3000">
              <a:latin typeface="+mj-lt"/>
            </a:endParaRPr>
          </a:p>
          <a:p>
            <a:pPr marL="457200" lvl="0" indent="-342900" algn="ctr" rtl="0">
              <a:spcBef>
                <a:spcPts val="0"/>
              </a:spcBef>
              <a:spcAft>
                <a:spcPts val="0"/>
              </a:spcAft>
              <a:buSzPts val="1800"/>
              <a:buAutoNum type="alphaUcPeriod"/>
            </a:pPr>
            <a:r>
              <a:rPr lang="en" sz="1800">
                <a:latin typeface="+mj-lt"/>
              </a:rPr>
              <a:t>Exploratory Data Analysis</a:t>
            </a:r>
            <a:endParaRPr sz="1800">
              <a:latin typeface="+mj-lt"/>
            </a:endParaRPr>
          </a:p>
          <a:p>
            <a:pPr marL="457200" lvl="0" indent="-342900" algn="ctr" rtl="0">
              <a:spcBef>
                <a:spcPts val="0"/>
              </a:spcBef>
              <a:spcAft>
                <a:spcPts val="0"/>
              </a:spcAft>
              <a:buSzPts val="1800"/>
              <a:buAutoNum type="alphaUcPeriod"/>
            </a:pPr>
            <a:r>
              <a:rPr lang="en" sz="1800">
                <a:latin typeface="+mj-lt"/>
              </a:rPr>
              <a:t>Regression Models</a:t>
            </a:r>
            <a:endParaRPr sz="1800">
              <a:latin typeface="+mj-lt"/>
            </a:endParaRPr>
          </a:p>
          <a:p>
            <a:pPr marL="457200" lvl="0" indent="-342900" algn="ctr" rtl="0">
              <a:spcBef>
                <a:spcPts val="0"/>
              </a:spcBef>
              <a:spcAft>
                <a:spcPts val="0"/>
              </a:spcAft>
              <a:buSzPts val="1800"/>
              <a:buAutoNum type="alphaUcPeriod"/>
            </a:pPr>
            <a:r>
              <a:rPr lang="en" sz="1800">
                <a:latin typeface="+mj-lt"/>
              </a:rPr>
              <a:t>Regression Trees</a:t>
            </a:r>
            <a:endParaRPr sz="1800">
              <a:latin typeface="+mj-lt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000">
              <a:latin typeface="+mj-lt"/>
            </a:endParaRPr>
          </a:p>
        </p:txBody>
      </p:sp>
      <p:sp>
        <p:nvSpPr>
          <p:cNvPr id="558" name="Google Shape;558;p64"/>
          <p:cNvSpPr txBox="1">
            <a:spLocks noGrp="1"/>
          </p:cNvSpPr>
          <p:nvPr>
            <p:ph type="title" idx="2"/>
          </p:nvPr>
        </p:nvSpPr>
        <p:spPr>
          <a:xfrm>
            <a:off x="3963000" y="1265075"/>
            <a:ext cx="1296300" cy="978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latin typeface="+mj-lt"/>
              </a:rPr>
              <a:t>05</a:t>
            </a:r>
            <a:endParaRPr>
              <a:latin typeface="+mj-lt"/>
            </a:endParaRP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" name="Google Shape;563;p65"/>
          <p:cNvSpPr txBox="1"/>
          <p:nvPr/>
        </p:nvSpPr>
        <p:spPr>
          <a:xfrm>
            <a:off x="2452500" y="2287050"/>
            <a:ext cx="4239000" cy="9540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457200" lvl="0" indent="-38735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500"/>
              <a:buFont typeface="Vidaloka"/>
              <a:buAutoNum type="alphaUcPeriod"/>
            </a:pPr>
            <a:r>
              <a:rPr lang="en" sz="2500">
                <a:solidFill>
                  <a:schemeClr val="dk1"/>
                </a:solidFill>
                <a:latin typeface="+mj-lt"/>
                <a:ea typeface="Vidaloka"/>
                <a:cs typeface="Vidaloka"/>
                <a:sym typeface="Vidaloka"/>
              </a:rPr>
              <a:t>Exploratory Data Analysis</a:t>
            </a:r>
            <a:endParaRPr sz="2500">
              <a:latin typeface="+mj-lt"/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9" name="Google Shape;569;p66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0" y="775673"/>
            <a:ext cx="4528299" cy="3461533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Google Shape;579;p68">
            <a:extLst>
              <a:ext uri="{FF2B5EF4-FFF2-40B4-BE49-F238E27FC236}">
                <a16:creationId xmlns:a16="http://schemas.microsoft.com/office/drawing/2014/main" id="{1E4A1A81-774E-014D-91C9-B15234CA7DAD}"/>
              </a:ext>
            </a:extLst>
          </p:cNvPr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4667050" y="775673"/>
            <a:ext cx="4476950" cy="342227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oogle Shape;568;p66">
            <a:extLst>
              <a:ext uri="{FF2B5EF4-FFF2-40B4-BE49-F238E27FC236}">
                <a16:creationId xmlns:a16="http://schemas.microsoft.com/office/drawing/2014/main" id="{50637C5B-385D-C749-B8F1-652BB6BBC2BB}"/>
              </a:ext>
            </a:extLst>
          </p:cNvPr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0" y="841000"/>
            <a:ext cx="4528299" cy="3461525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Google Shape;574;p67">
            <a:extLst>
              <a:ext uri="{FF2B5EF4-FFF2-40B4-BE49-F238E27FC236}">
                <a16:creationId xmlns:a16="http://schemas.microsoft.com/office/drawing/2014/main" id="{7B021A22-0E5A-8C4A-9306-FC16543B1A00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4648200" y="841000"/>
            <a:ext cx="4495800" cy="346152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2687813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85" name="Google Shape;585;p69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0" y="845399"/>
            <a:ext cx="4516751" cy="3452700"/>
          </a:xfrm>
          <a:prstGeom prst="rect">
            <a:avLst/>
          </a:prstGeom>
          <a:noFill/>
          <a:ln>
            <a:noFill/>
          </a:ln>
        </p:spPr>
      </p:pic>
      <p:pic>
        <p:nvPicPr>
          <p:cNvPr id="586" name="Google Shape;586;p69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4684100" y="823675"/>
            <a:ext cx="4459900" cy="34527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91" name="Google Shape;591;p70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961513" y="697075"/>
            <a:ext cx="7220975" cy="374935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80" name="Google Shape;580;p6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314250" y="566698"/>
            <a:ext cx="6305749" cy="386378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96" name="Google Shape;596;p71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0" y="789650"/>
            <a:ext cx="4507166" cy="3430900"/>
          </a:xfrm>
          <a:prstGeom prst="rect">
            <a:avLst/>
          </a:prstGeom>
          <a:noFill/>
          <a:ln>
            <a:noFill/>
          </a:ln>
        </p:spPr>
      </p:pic>
      <p:pic>
        <p:nvPicPr>
          <p:cNvPr id="597" name="Google Shape;597;p71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4636850" y="789638"/>
            <a:ext cx="4507150" cy="343092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02" name="Google Shape;602;p72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777413" y="371825"/>
            <a:ext cx="5779975" cy="4399825"/>
          </a:xfrm>
          <a:prstGeom prst="rect">
            <a:avLst/>
          </a:prstGeom>
          <a:noFill/>
          <a:ln>
            <a:noFill/>
          </a:ln>
        </p:spPr>
      </p:pic>
      <p:sp>
        <p:nvSpPr>
          <p:cNvPr id="603" name="Google Shape;603;p72"/>
          <p:cNvSpPr txBox="1"/>
          <p:nvPr/>
        </p:nvSpPr>
        <p:spPr>
          <a:xfrm>
            <a:off x="6821950" y="2157450"/>
            <a:ext cx="1809600" cy="82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>
                <a:solidFill>
                  <a:schemeClr val="dk2"/>
                </a:solidFill>
                <a:latin typeface="+mj-lt"/>
                <a:ea typeface="Montserrat"/>
                <a:cs typeface="Montserrat"/>
                <a:sym typeface="Montserrat"/>
              </a:rPr>
              <a:t>Correlation:</a:t>
            </a:r>
            <a:endParaRPr sz="1800">
              <a:solidFill>
                <a:schemeClr val="dk2"/>
              </a:solidFill>
              <a:latin typeface="+mj-lt"/>
              <a:ea typeface="Montserrat"/>
              <a:cs typeface="Montserrat"/>
              <a:sym typeface="Montserrat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>
                <a:solidFill>
                  <a:schemeClr val="dk2"/>
                </a:solidFill>
                <a:latin typeface="+mj-lt"/>
                <a:ea typeface="Montserrat"/>
                <a:cs typeface="Montserrat"/>
                <a:sym typeface="Montserrat"/>
              </a:rPr>
              <a:t>-0.746</a:t>
            </a:r>
            <a:endParaRPr sz="1800">
              <a:solidFill>
                <a:schemeClr val="dk2"/>
              </a:solidFill>
              <a:latin typeface="+mj-lt"/>
              <a:ea typeface="Montserrat"/>
              <a:cs typeface="Montserrat"/>
              <a:sym typeface="Montserrat"/>
            </a:endParaRP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8" name="Google Shape;608;p73"/>
          <p:cNvSpPr txBox="1"/>
          <p:nvPr/>
        </p:nvSpPr>
        <p:spPr>
          <a:xfrm>
            <a:off x="2825100" y="1634900"/>
            <a:ext cx="3493800" cy="9540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500">
                <a:solidFill>
                  <a:schemeClr val="dk1"/>
                </a:solidFill>
                <a:latin typeface="+mj-lt"/>
                <a:ea typeface="Vidaloka"/>
                <a:cs typeface="Vidaloka"/>
                <a:sym typeface="Vidaloka"/>
              </a:rPr>
              <a:t>B. 	Regression Models</a:t>
            </a:r>
            <a:endParaRPr sz="2500">
              <a:latin typeface="+mj-lt"/>
            </a:endParaRPr>
          </a:p>
        </p:txBody>
      </p:sp>
      <p:sp>
        <p:nvSpPr>
          <p:cNvPr id="609" name="Google Shape;609;p73"/>
          <p:cNvSpPr txBox="1">
            <a:spLocks noGrp="1"/>
          </p:cNvSpPr>
          <p:nvPr>
            <p:ph type="subTitle" idx="4294967295"/>
          </p:nvPr>
        </p:nvSpPr>
        <p:spPr>
          <a:xfrm>
            <a:off x="2005500" y="2885150"/>
            <a:ext cx="5133000" cy="701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1200"/>
              </a:spcAft>
              <a:buNone/>
            </a:pPr>
            <a:r>
              <a:rPr lang="en" sz="1400">
                <a:latin typeface="+mj-lt"/>
              </a:rPr>
              <a:t>The data was split into a training (70%) and validation (30%) dataset after setting a seed of 100 for replicability</a:t>
            </a:r>
            <a:endParaRPr sz="1400">
              <a:solidFill>
                <a:schemeClr val="dk1"/>
              </a:solidFill>
              <a:latin typeface="+mj-lt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5" name="Google Shape;495;p56"/>
          <p:cNvSpPr txBox="1">
            <a:spLocks noGrp="1"/>
          </p:cNvSpPr>
          <p:nvPr>
            <p:ph type="title"/>
          </p:nvPr>
        </p:nvSpPr>
        <p:spPr>
          <a:xfrm>
            <a:off x="2714550" y="2323722"/>
            <a:ext cx="3714900" cy="818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000">
                <a:latin typeface="+mj-lt"/>
              </a:rPr>
              <a:t>Introduction &amp; Literature Review</a:t>
            </a:r>
            <a:endParaRPr sz="3000">
              <a:latin typeface="+mj-lt"/>
            </a:endParaRPr>
          </a:p>
        </p:txBody>
      </p:sp>
      <p:sp>
        <p:nvSpPr>
          <p:cNvPr id="496" name="Google Shape;496;p56"/>
          <p:cNvSpPr txBox="1">
            <a:spLocks noGrp="1"/>
          </p:cNvSpPr>
          <p:nvPr>
            <p:ph type="title" idx="2"/>
          </p:nvPr>
        </p:nvSpPr>
        <p:spPr>
          <a:xfrm>
            <a:off x="3963000" y="1265075"/>
            <a:ext cx="1218000" cy="978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latin typeface="+mj-lt"/>
              </a:rPr>
              <a:t>01</a:t>
            </a:r>
            <a:endParaRPr>
              <a:latin typeface="+mj-lt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1E9C31B-B854-4E49-86B6-D0DC60E44006}"/>
              </a:ext>
            </a:extLst>
          </p:cNvPr>
          <p:cNvSpPr/>
          <p:nvPr/>
        </p:nvSpPr>
        <p:spPr>
          <a:xfrm>
            <a:off x="4454820" y="2417862"/>
            <a:ext cx="23436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 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CC90864-FAED-8D47-A152-9CD0BF532134}"/>
              </a:ext>
            </a:extLst>
          </p:cNvPr>
          <p:cNvSpPr/>
          <p:nvPr/>
        </p:nvSpPr>
        <p:spPr>
          <a:xfrm>
            <a:off x="4454820" y="2417862"/>
            <a:ext cx="23436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 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C8DF9D4-4F13-8F4B-AF34-9301AF536216}"/>
              </a:ext>
            </a:extLst>
          </p:cNvPr>
          <p:cNvSpPr/>
          <p:nvPr/>
        </p:nvSpPr>
        <p:spPr>
          <a:xfrm>
            <a:off x="4454820" y="2417862"/>
            <a:ext cx="23436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 </a:t>
            </a: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" name="Google Shape;614;p74"/>
          <p:cNvSpPr txBox="1">
            <a:spLocks noGrp="1"/>
          </p:cNvSpPr>
          <p:nvPr>
            <p:ph type="title"/>
          </p:nvPr>
        </p:nvSpPr>
        <p:spPr>
          <a:xfrm>
            <a:off x="2714550" y="561274"/>
            <a:ext cx="3714900" cy="515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600">
                <a:latin typeface="+mj-lt"/>
              </a:rPr>
              <a:t>Model 1</a:t>
            </a:r>
            <a:endParaRPr sz="2600">
              <a:latin typeface="+mj-lt"/>
            </a:endParaRPr>
          </a:p>
        </p:txBody>
      </p:sp>
      <p:pic>
        <p:nvPicPr>
          <p:cNvPr id="615" name="Google Shape;615;p74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807375" y="3505900"/>
            <a:ext cx="7175075" cy="271425"/>
          </a:xfrm>
          <a:prstGeom prst="rect">
            <a:avLst/>
          </a:prstGeom>
          <a:noFill/>
          <a:ln>
            <a:noFill/>
          </a:ln>
        </p:spPr>
      </p:pic>
      <p:pic>
        <p:nvPicPr>
          <p:cNvPr id="616" name="Google Shape;616;p74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807375" y="4124425"/>
            <a:ext cx="7175075" cy="271425"/>
          </a:xfrm>
          <a:prstGeom prst="rect">
            <a:avLst/>
          </a:prstGeom>
          <a:noFill/>
          <a:ln>
            <a:noFill/>
          </a:ln>
        </p:spPr>
      </p:pic>
      <p:pic>
        <p:nvPicPr>
          <p:cNvPr id="617" name="Google Shape;617;p74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807375" y="3234475"/>
            <a:ext cx="7175075" cy="271425"/>
          </a:xfrm>
          <a:prstGeom prst="rect">
            <a:avLst/>
          </a:prstGeom>
          <a:noFill/>
          <a:ln>
            <a:noFill/>
          </a:ln>
        </p:spPr>
      </p:pic>
      <p:sp>
        <p:nvSpPr>
          <p:cNvPr id="618" name="Google Shape;618;p74"/>
          <p:cNvSpPr txBox="1">
            <a:spLocks noGrp="1"/>
          </p:cNvSpPr>
          <p:nvPr>
            <p:ph type="subTitle" idx="4294967295"/>
          </p:nvPr>
        </p:nvSpPr>
        <p:spPr>
          <a:xfrm>
            <a:off x="807375" y="1349475"/>
            <a:ext cx="7516500" cy="1612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400" dirty="0">
                <a:latin typeface="+mj-lt"/>
              </a:rPr>
              <a:t>All Predictors</a:t>
            </a:r>
            <a:endParaRPr sz="1400" dirty="0">
              <a:latin typeface="+mj-lt"/>
            </a:endParaRPr>
          </a:p>
          <a:p>
            <a:pPr marL="0" lvl="0" indent="0" algn="l" rtl="0">
              <a:spcBef>
                <a:spcPts val="1200"/>
              </a:spcBef>
              <a:spcAft>
                <a:spcPts val="0"/>
              </a:spcAft>
              <a:buNone/>
            </a:pPr>
            <a:r>
              <a:rPr lang="en" sz="1400" dirty="0">
                <a:latin typeface="+mj-lt"/>
              </a:rPr>
              <a:t>R Squared = 75.01%</a:t>
            </a:r>
            <a:endParaRPr sz="1400" dirty="0">
              <a:latin typeface="+mj-lt"/>
            </a:endParaRPr>
          </a:p>
          <a:p>
            <a:pPr marL="0" lvl="0" indent="0" algn="l" rtl="0">
              <a:spcBef>
                <a:spcPts val="1200"/>
              </a:spcBef>
              <a:spcAft>
                <a:spcPts val="0"/>
              </a:spcAft>
              <a:buNone/>
            </a:pPr>
            <a:r>
              <a:rPr lang="en" sz="1400" dirty="0">
                <a:latin typeface="+mj-lt"/>
              </a:rPr>
              <a:t>RMSE = 11.02643 with an average total Q of 84.62 in the validation dataset</a:t>
            </a:r>
            <a:endParaRPr sz="1400" dirty="0">
              <a:solidFill>
                <a:schemeClr val="dk1"/>
              </a:solidFill>
              <a:latin typeface="+mj-lt"/>
            </a:endParaRPr>
          </a:p>
          <a:p>
            <a:pPr marL="0" lvl="0" indent="0" algn="l" rtl="0">
              <a:spcBef>
                <a:spcPts val="1200"/>
              </a:spcBef>
              <a:spcAft>
                <a:spcPts val="1200"/>
              </a:spcAft>
              <a:buNone/>
            </a:pPr>
            <a:r>
              <a:rPr lang="en" sz="1400" dirty="0">
                <a:solidFill>
                  <a:schemeClr val="dk1"/>
                </a:solidFill>
                <a:latin typeface="+mj-lt"/>
              </a:rPr>
              <a:t>Model 1 Statistically Significant</a:t>
            </a:r>
            <a:endParaRPr sz="1400" dirty="0">
              <a:solidFill>
                <a:schemeClr val="dk1"/>
              </a:solidFill>
              <a:latin typeface="+mj-lt"/>
            </a:endParaRPr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3" name="Google Shape;623;p75"/>
          <p:cNvSpPr txBox="1">
            <a:spLocks noGrp="1"/>
          </p:cNvSpPr>
          <p:nvPr>
            <p:ph type="title"/>
          </p:nvPr>
        </p:nvSpPr>
        <p:spPr>
          <a:xfrm>
            <a:off x="2714550" y="546624"/>
            <a:ext cx="3714900" cy="515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600">
                <a:latin typeface="+mj-lt"/>
              </a:rPr>
              <a:t>Model 2</a:t>
            </a:r>
            <a:endParaRPr sz="2600">
              <a:latin typeface="+mj-lt"/>
            </a:endParaRPr>
          </a:p>
        </p:txBody>
      </p:sp>
      <p:sp>
        <p:nvSpPr>
          <p:cNvPr id="624" name="Google Shape;624;p75"/>
          <p:cNvSpPr txBox="1">
            <a:spLocks noGrp="1"/>
          </p:cNvSpPr>
          <p:nvPr>
            <p:ph type="subTitle" idx="4294967295"/>
          </p:nvPr>
        </p:nvSpPr>
        <p:spPr>
          <a:xfrm>
            <a:off x="807375" y="1349475"/>
            <a:ext cx="7249800" cy="1953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400">
                <a:latin typeface="+mj-lt"/>
              </a:rPr>
              <a:t>All Predictors of Model 1 except Pixel Density and </a:t>
            </a:r>
            <a:r>
              <a:rPr lang="en" sz="1400">
                <a:solidFill>
                  <a:schemeClr val="dk1"/>
                </a:solidFill>
                <a:latin typeface="+mj-lt"/>
              </a:rPr>
              <a:t>Refresh Rate</a:t>
            </a:r>
            <a:endParaRPr sz="1400">
              <a:latin typeface="+mj-lt"/>
            </a:endParaRPr>
          </a:p>
          <a:p>
            <a:pPr marL="0" lvl="0" indent="0" algn="l" rtl="0">
              <a:spcBef>
                <a:spcPts val="1200"/>
              </a:spcBef>
              <a:spcAft>
                <a:spcPts val="0"/>
              </a:spcAft>
              <a:buNone/>
            </a:pPr>
            <a:r>
              <a:rPr lang="en" sz="1400">
                <a:latin typeface="+mj-lt"/>
              </a:rPr>
              <a:t>R Squared = 75.01%</a:t>
            </a:r>
            <a:endParaRPr sz="1400">
              <a:latin typeface="+mj-lt"/>
            </a:endParaRPr>
          </a:p>
          <a:p>
            <a:pPr marL="0" lvl="0" indent="0" algn="l" rtl="0">
              <a:spcBef>
                <a:spcPts val="1200"/>
              </a:spcBef>
              <a:spcAft>
                <a:spcPts val="0"/>
              </a:spcAft>
              <a:buNone/>
            </a:pPr>
            <a:r>
              <a:rPr lang="en" sz="1400">
                <a:latin typeface="+mj-lt"/>
              </a:rPr>
              <a:t>RMSE = </a:t>
            </a:r>
            <a:r>
              <a:rPr lang="en" sz="1400">
                <a:solidFill>
                  <a:schemeClr val="dk1"/>
                </a:solidFill>
                <a:latin typeface="+mj-lt"/>
              </a:rPr>
              <a:t>11.02625 with an average total Q of 84.62 in the validation dataset</a:t>
            </a:r>
            <a:endParaRPr sz="1400">
              <a:solidFill>
                <a:schemeClr val="dk1"/>
              </a:solidFill>
              <a:latin typeface="+mj-lt"/>
            </a:endParaRPr>
          </a:p>
          <a:p>
            <a:pPr marL="0" lvl="0" indent="0" algn="l" rtl="0">
              <a:spcBef>
                <a:spcPts val="1200"/>
              </a:spcBef>
              <a:spcAft>
                <a:spcPts val="0"/>
              </a:spcAft>
              <a:buNone/>
            </a:pPr>
            <a:r>
              <a:rPr lang="en" sz="1400">
                <a:solidFill>
                  <a:schemeClr val="dk1"/>
                </a:solidFill>
                <a:latin typeface="+mj-lt"/>
              </a:rPr>
              <a:t>Model 2 Statistically Significant</a:t>
            </a:r>
            <a:endParaRPr sz="1400">
              <a:solidFill>
                <a:schemeClr val="dk1"/>
              </a:solidFill>
              <a:latin typeface="+mj-lt"/>
            </a:endParaRPr>
          </a:p>
          <a:p>
            <a:pPr marL="0" lvl="0" indent="0" algn="l" rtl="0">
              <a:spcBef>
                <a:spcPts val="1200"/>
              </a:spcBef>
              <a:spcAft>
                <a:spcPts val="1200"/>
              </a:spcAft>
              <a:buNone/>
            </a:pPr>
            <a:r>
              <a:rPr lang="en" sz="1400">
                <a:solidFill>
                  <a:schemeClr val="dk1"/>
                </a:solidFill>
                <a:latin typeface="+mj-lt"/>
              </a:rPr>
              <a:t>No Instances of Multicollinearity</a:t>
            </a:r>
            <a:endParaRPr sz="1400">
              <a:solidFill>
                <a:schemeClr val="dk1"/>
              </a:solidFill>
              <a:latin typeface="+mj-lt"/>
            </a:endParaRPr>
          </a:p>
        </p:txBody>
      </p:sp>
      <p:pic>
        <p:nvPicPr>
          <p:cNvPr id="625" name="Google Shape;625;p75"/>
          <p:cNvPicPr preferRelativeResize="0"/>
          <p:nvPr/>
        </p:nvPicPr>
        <p:blipFill rotWithShape="1">
          <a:blip r:embed="rId3">
            <a:alphaModFix/>
          </a:blip>
          <a:srcRect b="23809"/>
          <a:stretch/>
        </p:blipFill>
        <p:spPr>
          <a:xfrm>
            <a:off x="186663" y="3692050"/>
            <a:ext cx="8770674" cy="16822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0" name="Google Shape;630;p76"/>
          <p:cNvSpPr txBox="1">
            <a:spLocks noGrp="1"/>
          </p:cNvSpPr>
          <p:nvPr>
            <p:ph type="title"/>
          </p:nvPr>
        </p:nvSpPr>
        <p:spPr>
          <a:xfrm>
            <a:off x="2714550" y="546624"/>
            <a:ext cx="3714900" cy="515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600">
                <a:latin typeface="+mj-lt"/>
              </a:rPr>
              <a:t>Model 3</a:t>
            </a:r>
            <a:endParaRPr sz="2600">
              <a:latin typeface="+mj-lt"/>
            </a:endParaRPr>
          </a:p>
        </p:txBody>
      </p:sp>
      <p:sp>
        <p:nvSpPr>
          <p:cNvPr id="631" name="Google Shape;631;p76"/>
          <p:cNvSpPr txBox="1">
            <a:spLocks noGrp="1"/>
          </p:cNvSpPr>
          <p:nvPr>
            <p:ph type="subTitle" idx="4294967295"/>
          </p:nvPr>
        </p:nvSpPr>
        <p:spPr>
          <a:xfrm>
            <a:off x="807375" y="1349475"/>
            <a:ext cx="7478400" cy="1953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400" dirty="0">
                <a:latin typeface="+mj-lt"/>
              </a:rPr>
              <a:t>All Predictors of Model 2 except Response Time</a:t>
            </a:r>
            <a:endParaRPr sz="1400" dirty="0">
              <a:latin typeface="+mj-lt"/>
            </a:endParaRPr>
          </a:p>
          <a:p>
            <a:pPr marL="0" lvl="0" indent="0" algn="l" rtl="0">
              <a:spcBef>
                <a:spcPts val="1200"/>
              </a:spcBef>
              <a:spcAft>
                <a:spcPts val="0"/>
              </a:spcAft>
              <a:buNone/>
            </a:pPr>
            <a:r>
              <a:rPr lang="en" sz="1400" dirty="0">
                <a:latin typeface="+mj-lt"/>
              </a:rPr>
              <a:t>R Squared = 75.01%</a:t>
            </a:r>
            <a:endParaRPr sz="1400" dirty="0">
              <a:latin typeface="+mj-lt"/>
            </a:endParaRPr>
          </a:p>
          <a:p>
            <a:pPr marL="0" lvl="0" indent="0" algn="l" rtl="0">
              <a:spcBef>
                <a:spcPts val="1200"/>
              </a:spcBef>
              <a:spcAft>
                <a:spcPts val="0"/>
              </a:spcAft>
              <a:buNone/>
            </a:pPr>
            <a:r>
              <a:rPr lang="en" sz="1400" dirty="0">
                <a:latin typeface="+mj-lt"/>
              </a:rPr>
              <a:t>RMSE = </a:t>
            </a:r>
            <a:r>
              <a:rPr lang="en" sz="1400" dirty="0">
                <a:solidFill>
                  <a:schemeClr val="dk1"/>
                </a:solidFill>
                <a:latin typeface="+mj-lt"/>
              </a:rPr>
              <a:t> 11.03070 with an average total Q of 84.62 in the validation dataset</a:t>
            </a:r>
            <a:endParaRPr sz="1400" dirty="0">
              <a:solidFill>
                <a:schemeClr val="dk1"/>
              </a:solidFill>
              <a:latin typeface="+mj-lt"/>
            </a:endParaRPr>
          </a:p>
          <a:p>
            <a:pPr marL="0" lvl="0" indent="0" algn="l" rtl="0">
              <a:spcBef>
                <a:spcPts val="1200"/>
              </a:spcBef>
              <a:spcAft>
                <a:spcPts val="0"/>
              </a:spcAft>
              <a:buNone/>
            </a:pPr>
            <a:r>
              <a:rPr lang="en" sz="1400" dirty="0">
                <a:solidFill>
                  <a:schemeClr val="dk1"/>
                </a:solidFill>
                <a:latin typeface="+mj-lt"/>
              </a:rPr>
              <a:t>Model 3 Statistically Significant</a:t>
            </a:r>
            <a:endParaRPr sz="1400" dirty="0">
              <a:solidFill>
                <a:schemeClr val="dk1"/>
              </a:solidFill>
              <a:latin typeface="+mj-lt"/>
            </a:endParaRPr>
          </a:p>
          <a:p>
            <a:pPr marL="0" lvl="0" indent="0" algn="l" rtl="0">
              <a:spcBef>
                <a:spcPts val="1200"/>
              </a:spcBef>
              <a:spcAft>
                <a:spcPts val="0"/>
              </a:spcAft>
              <a:buNone/>
            </a:pPr>
            <a:r>
              <a:rPr lang="en" sz="1400" dirty="0">
                <a:solidFill>
                  <a:schemeClr val="dk1"/>
                </a:solidFill>
                <a:latin typeface="+mj-lt"/>
              </a:rPr>
              <a:t>All Predictors are significant</a:t>
            </a:r>
            <a:endParaRPr sz="1400" dirty="0">
              <a:solidFill>
                <a:schemeClr val="dk1"/>
              </a:solidFill>
              <a:latin typeface="+mj-lt"/>
            </a:endParaRPr>
          </a:p>
          <a:p>
            <a:pPr marL="0" lvl="0" indent="0" algn="l" rtl="0">
              <a:spcBef>
                <a:spcPts val="1200"/>
              </a:spcBef>
              <a:spcAft>
                <a:spcPts val="0"/>
              </a:spcAft>
              <a:buNone/>
            </a:pPr>
            <a:r>
              <a:rPr lang="en" sz="1400" dirty="0">
                <a:solidFill>
                  <a:schemeClr val="dk1"/>
                </a:solidFill>
                <a:latin typeface="+mj-lt"/>
              </a:rPr>
              <a:t>No Instances of Multicollinearity</a:t>
            </a:r>
            <a:endParaRPr sz="1400" dirty="0">
              <a:solidFill>
                <a:schemeClr val="dk1"/>
              </a:solidFill>
              <a:latin typeface="+mj-lt"/>
            </a:endParaRPr>
          </a:p>
          <a:p>
            <a:pPr marL="0" lvl="0" indent="0" algn="l" rtl="0">
              <a:spcBef>
                <a:spcPts val="1200"/>
              </a:spcBef>
              <a:spcAft>
                <a:spcPts val="1200"/>
              </a:spcAft>
              <a:buNone/>
            </a:pPr>
            <a:endParaRPr sz="1400" dirty="0">
              <a:solidFill>
                <a:schemeClr val="dk1"/>
              </a:solidFill>
              <a:latin typeface="+mj-lt"/>
            </a:endParaRPr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6" name="Google Shape;636;p77"/>
          <p:cNvSpPr txBox="1">
            <a:spLocks noGrp="1"/>
          </p:cNvSpPr>
          <p:nvPr>
            <p:ph type="title"/>
          </p:nvPr>
        </p:nvSpPr>
        <p:spPr>
          <a:xfrm>
            <a:off x="2714550" y="546624"/>
            <a:ext cx="3714900" cy="515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600">
                <a:latin typeface="+mj-lt"/>
              </a:rPr>
              <a:t>Model 4</a:t>
            </a:r>
            <a:endParaRPr sz="2600">
              <a:latin typeface="+mj-lt"/>
            </a:endParaRPr>
          </a:p>
        </p:txBody>
      </p:sp>
      <p:sp>
        <p:nvSpPr>
          <p:cNvPr id="637" name="Google Shape;637;p77"/>
          <p:cNvSpPr txBox="1">
            <a:spLocks noGrp="1"/>
          </p:cNvSpPr>
          <p:nvPr>
            <p:ph type="subTitle" idx="4294967295"/>
          </p:nvPr>
        </p:nvSpPr>
        <p:spPr>
          <a:xfrm>
            <a:off x="434100" y="1062325"/>
            <a:ext cx="8613600" cy="1490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200" dirty="0">
                <a:latin typeface="+mj-lt"/>
              </a:rPr>
              <a:t>Predictors: Unit Price, Size (Inches), Casa</a:t>
            </a:r>
            <a:endParaRPr sz="1200" dirty="0">
              <a:latin typeface="+mj-lt"/>
            </a:endParaRPr>
          </a:p>
          <a:p>
            <a:pPr marL="0" lvl="0" indent="0" algn="l" rtl="0">
              <a:spcBef>
                <a:spcPts val="1200"/>
              </a:spcBef>
              <a:spcAft>
                <a:spcPts val="0"/>
              </a:spcAft>
              <a:buNone/>
            </a:pPr>
            <a:r>
              <a:rPr lang="en" sz="1200" dirty="0">
                <a:latin typeface="+mj-lt"/>
              </a:rPr>
              <a:t>R Squared = 75.01%			</a:t>
            </a:r>
            <a:r>
              <a:rPr lang="en" sz="1200" dirty="0">
                <a:solidFill>
                  <a:schemeClr val="dk1"/>
                </a:solidFill>
                <a:latin typeface="+mj-lt"/>
              </a:rPr>
              <a:t>RMSE =  11.35494 with an average total Q of 84.62 in the validation dataset</a:t>
            </a:r>
            <a:endParaRPr sz="1200" dirty="0">
              <a:solidFill>
                <a:schemeClr val="dk1"/>
              </a:solidFill>
              <a:latin typeface="+mj-lt"/>
            </a:endParaRPr>
          </a:p>
          <a:p>
            <a:pPr marL="0" lvl="0" indent="0" algn="l" rtl="0">
              <a:spcBef>
                <a:spcPts val="1200"/>
              </a:spcBef>
              <a:spcAft>
                <a:spcPts val="0"/>
              </a:spcAft>
              <a:buNone/>
            </a:pPr>
            <a:r>
              <a:rPr lang="en" sz="1200" dirty="0">
                <a:solidFill>
                  <a:schemeClr val="dk1"/>
                </a:solidFill>
                <a:latin typeface="+mj-lt"/>
              </a:rPr>
              <a:t>Model 4 Statistically Significant &amp; All Predictors are significant</a:t>
            </a:r>
            <a:endParaRPr sz="1200" dirty="0">
              <a:solidFill>
                <a:schemeClr val="dk1"/>
              </a:solidFill>
              <a:latin typeface="+mj-lt"/>
            </a:endParaRPr>
          </a:p>
          <a:p>
            <a:pPr marL="0" lvl="0" indent="0" algn="l" rtl="0">
              <a:spcBef>
                <a:spcPts val="1200"/>
              </a:spcBef>
              <a:spcAft>
                <a:spcPts val="0"/>
              </a:spcAft>
              <a:buNone/>
            </a:pPr>
            <a:r>
              <a:rPr lang="en" sz="1200" dirty="0">
                <a:solidFill>
                  <a:schemeClr val="dk1"/>
                </a:solidFill>
                <a:latin typeface="+mj-lt"/>
              </a:rPr>
              <a:t>No Instances of Multicollinearity</a:t>
            </a:r>
            <a:endParaRPr sz="1200" dirty="0">
              <a:solidFill>
                <a:schemeClr val="dk1"/>
              </a:solidFill>
              <a:latin typeface="+mj-lt"/>
            </a:endParaRPr>
          </a:p>
          <a:p>
            <a:pPr marL="0" lvl="0" indent="0" algn="l" rtl="0">
              <a:spcBef>
                <a:spcPts val="1200"/>
              </a:spcBef>
              <a:spcAft>
                <a:spcPts val="1200"/>
              </a:spcAft>
              <a:buNone/>
            </a:pPr>
            <a:endParaRPr sz="1400" dirty="0">
              <a:solidFill>
                <a:schemeClr val="dk1"/>
              </a:solidFill>
              <a:latin typeface="+mj-lt"/>
            </a:endParaRPr>
          </a:p>
        </p:txBody>
      </p:sp>
      <p:pic>
        <p:nvPicPr>
          <p:cNvPr id="638" name="Google Shape;638;p77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701384" y="2690733"/>
            <a:ext cx="5990614" cy="207987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3" name="Google Shape;643;p78"/>
          <p:cNvSpPr txBox="1">
            <a:spLocks noGrp="1"/>
          </p:cNvSpPr>
          <p:nvPr>
            <p:ph type="title"/>
          </p:nvPr>
        </p:nvSpPr>
        <p:spPr>
          <a:xfrm>
            <a:off x="2714550" y="284296"/>
            <a:ext cx="3714900" cy="515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" sz="2600" dirty="0"/>
              <a:t>Interaction</a:t>
            </a:r>
            <a:endParaRPr sz="2600" dirty="0"/>
          </a:p>
        </p:txBody>
      </p:sp>
      <p:sp>
        <p:nvSpPr>
          <p:cNvPr id="644" name="Google Shape;644;p78"/>
          <p:cNvSpPr txBox="1">
            <a:spLocks noGrp="1"/>
          </p:cNvSpPr>
          <p:nvPr>
            <p:ph type="subTitle" idx="4294967295"/>
          </p:nvPr>
        </p:nvSpPr>
        <p:spPr>
          <a:xfrm>
            <a:off x="164892" y="745676"/>
            <a:ext cx="8979108" cy="3938749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 dirty="0">
                <a:latin typeface="+mj-lt"/>
              </a:rPr>
              <a:t>R Squared = 79.43%</a:t>
            </a:r>
            <a:endParaRPr sz="1100" dirty="0">
              <a:latin typeface="+mj-lt"/>
            </a:endParaRPr>
          </a:p>
          <a:p>
            <a:pPr marL="0" lvl="0" indent="0" algn="l" rtl="0">
              <a:spcBef>
                <a:spcPts val="1200"/>
              </a:spcBef>
              <a:spcAft>
                <a:spcPts val="0"/>
              </a:spcAft>
              <a:buNone/>
            </a:pPr>
            <a:r>
              <a:rPr lang="en" sz="1100" dirty="0">
                <a:solidFill>
                  <a:schemeClr val="dk1"/>
                </a:solidFill>
                <a:latin typeface="+mj-lt"/>
              </a:rPr>
              <a:t>Interaction Model is Statistically Significant with a p-value &lt; 2.2e-16</a:t>
            </a:r>
            <a:endParaRPr lang="en-US" sz="1100" dirty="0">
              <a:solidFill>
                <a:schemeClr val="dk1"/>
              </a:solidFill>
              <a:latin typeface="+mj-lt"/>
            </a:endParaRPr>
          </a:p>
          <a:p>
            <a:pPr marL="171450" indent="-171450">
              <a:lnSpc>
                <a:spcPct val="150000"/>
              </a:lnSpc>
              <a:buClr>
                <a:schemeClr val="dk1"/>
              </a:buClr>
              <a:buSzPts val="1100"/>
            </a:pPr>
            <a:r>
              <a:rPr lang="en-US" sz="1100" dirty="0">
                <a:solidFill>
                  <a:schemeClr val="dk1"/>
                </a:solidFill>
                <a:latin typeface="+mj-lt"/>
              </a:rPr>
              <a:t>Interactions between Unit Price and TV Sizes:</a:t>
            </a:r>
          </a:p>
          <a:p>
            <a:pPr marL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US" sz="1100" dirty="0" err="1">
                <a:solidFill>
                  <a:schemeClr val="dk1"/>
                </a:solidFill>
                <a:latin typeface="+mj-lt"/>
              </a:rPr>
              <a:t>Unit.Price:relevel</a:t>
            </a:r>
            <a:r>
              <a:rPr lang="en-US" sz="1100" dirty="0">
                <a:solidFill>
                  <a:schemeClr val="dk1"/>
                </a:solidFill>
                <a:latin typeface="+mj-lt"/>
              </a:rPr>
              <a:t>(</a:t>
            </a:r>
            <a:r>
              <a:rPr lang="en-US" sz="1100" dirty="0" err="1">
                <a:solidFill>
                  <a:schemeClr val="dk1"/>
                </a:solidFill>
                <a:latin typeface="+mj-lt"/>
              </a:rPr>
              <a:t>as.factor</a:t>
            </a:r>
            <a:r>
              <a:rPr lang="en-US" sz="1100" dirty="0">
                <a:solidFill>
                  <a:schemeClr val="dk1"/>
                </a:solidFill>
                <a:latin typeface="+mj-lt"/>
              </a:rPr>
              <a:t>(Inches), ref = "52")65: -2.187e-02</a:t>
            </a:r>
          </a:p>
          <a:p>
            <a:pPr marL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US" sz="1100" dirty="0" err="1">
                <a:solidFill>
                  <a:schemeClr val="dk1"/>
                </a:solidFill>
                <a:latin typeface="+mj-lt"/>
              </a:rPr>
              <a:t>Unit.Price:relevel</a:t>
            </a:r>
            <a:r>
              <a:rPr lang="en-US" sz="1100" dirty="0">
                <a:solidFill>
                  <a:schemeClr val="dk1"/>
                </a:solidFill>
                <a:latin typeface="+mj-lt"/>
              </a:rPr>
              <a:t>(</a:t>
            </a:r>
            <a:r>
              <a:rPr lang="en-US" sz="1100" dirty="0" err="1">
                <a:solidFill>
                  <a:schemeClr val="dk1"/>
                </a:solidFill>
                <a:latin typeface="+mj-lt"/>
              </a:rPr>
              <a:t>as.factor</a:t>
            </a:r>
            <a:r>
              <a:rPr lang="en-US" sz="1100" dirty="0">
                <a:solidFill>
                  <a:schemeClr val="dk1"/>
                </a:solidFill>
                <a:latin typeface="+mj-lt"/>
              </a:rPr>
              <a:t>(Inches), ref = "52")75: -4.157e-02</a:t>
            </a:r>
          </a:p>
          <a:p>
            <a:pPr marL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US" sz="1100" dirty="0">
                <a:solidFill>
                  <a:schemeClr val="dk1"/>
                </a:solidFill>
                <a:latin typeface="+mj-lt"/>
              </a:rPr>
              <a:t>These coefficients suggest that for 65-inch and 75-inch TVs, an increase in unit price is associated with a greater decrease in sales quantity compared to the base size of 52 inches. The more negative coefficient for 75 inches implies a stronger negative impact of price on sales quantity for this size.</a:t>
            </a:r>
          </a:p>
          <a:p>
            <a:pPr marL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lang="en-US" sz="1100" dirty="0">
              <a:solidFill>
                <a:schemeClr val="dk1"/>
              </a:solidFill>
              <a:latin typeface="+mj-lt"/>
            </a:endParaRPr>
          </a:p>
          <a:p>
            <a:pPr marL="171450" indent="-171450">
              <a:lnSpc>
                <a:spcPct val="150000"/>
              </a:lnSpc>
              <a:buClr>
                <a:schemeClr val="dk1"/>
              </a:buClr>
              <a:buSzPts val="1100"/>
            </a:pPr>
            <a:r>
              <a:rPr lang="en-US" sz="1100" dirty="0">
                <a:solidFill>
                  <a:schemeClr val="dk1"/>
                </a:solidFill>
                <a:latin typeface="+mj-lt"/>
              </a:rPr>
              <a:t>Interactions between Unit Price and Regions:</a:t>
            </a:r>
          </a:p>
          <a:p>
            <a:pPr marL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US" sz="1100" dirty="0" err="1">
                <a:solidFill>
                  <a:schemeClr val="dk1"/>
                </a:solidFill>
                <a:latin typeface="+mj-lt"/>
              </a:rPr>
              <a:t>Unit.Price:relevel</a:t>
            </a:r>
            <a:r>
              <a:rPr lang="en-US" sz="1100" dirty="0">
                <a:solidFill>
                  <a:schemeClr val="dk1"/>
                </a:solidFill>
                <a:latin typeface="+mj-lt"/>
              </a:rPr>
              <a:t>(</a:t>
            </a:r>
            <a:r>
              <a:rPr lang="en-US" sz="1100" dirty="0" err="1">
                <a:solidFill>
                  <a:schemeClr val="dk1"/>
                </a:solidFill>
                <a:latin typeface="+mj-lt"/>
              </a:rPr>
              <a:t>as.factor</a:t>
            </a:r>
            <a:r>
              <a:rPr lang="en-US" sz="1100" dirty="0">
                <a:solidFill>
                  <a:schemeClr val="dk1"/>
                </a:solidFill>
                <a:latin typeface="+mj-lt"/>
              </a:rPr>
              <a:t>(Casa), ref = "</a:t>
            </a:r>
            <a:r>
              <a:rPr lang="en-US" sz="1100" dirty="0" err="1">
                <a:solidFill>
                  <a:schemeClr val="dk1"/>
                </a:solidFill>
                <a:latin typeface="+mj-lt"/>
              </a:rPr>
              <a:t>Bekaa</a:t>
            </a:r>
            <a:r>
              <a:rPr lang="en-US" sz="1100" dirty="0">
                <a:solidFill>
                  <a:schemeClr val="dk1"/>
                </a:solidFill>
                <a:latin typeface="+mj-lt"/>
              </a:rPr>
              <a:t>")Mount Lebanon: 1.086e-03</a:t>
            </a:r>
          </a:p>
          <a:p>
            <a:pPr marL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US" sz="1100" dirty="0">
                <a:solidFill>
                  <a:schemeClr val="dk1"/>
                </a:solidFill>
                <a:latin typeface="+mj-lt"/>
              </a:rPr>
              <a:t>This positive coefficient for Mount Lebanon indicates that the relationship between price and sales quantity in this region is different from the base case of </a:t>
            </a:r>
            <a:r>
              <a:rPr lang="en-US" sz="1100" dirty="0" err="1">
                <a:solidFill>
                  <a:schemeClr val="dk1"/>
                </a:solidFill>
                <a:latin typeface="+mj-lt"/>
              </a:rPr>
              <a:t>Bekaa</a:t>
            </a:r>
            <a:r>
              <a:rPr lang="en-US" sz="1100" dirty="0">
                <a:solidFill>
                  <a:schemeClr val="dk1"/>
                </a:solidFill>
                <a:latin typeface="+mj-lt"/>
              </a:rPr>
              <a:t>. Specifically, it suggests that an increase in unit price in Mount Lebanon is associated with a smaller decrease in sales quantity compared to </a:t>
            </a:r>
            <a:r>
              <a:rPr lang="en-US" sz="1100" dirty="0" err="1">
                <a:solidFill>
                  <a:schemeClr val="dk1"/>
                </a:solidFill>
                <a:latin typeface="+mj-lt"/>
              </a:rPr>
              <a:t>Bekaa</a:t>
            </a:r>
            <a:r>
              <a:rPr lang="en-US" sz="1100" dirty="0">
                <a:solidFill>
                  <a:schemeClr val="dk1"/>
                </a:solidFill>
                <a:latin typeface="+mj-lt"/>
              </a:rPr>
              <a:t>, given the positive sign.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100" dirty="0">
              <a:solidFill>
                <a:schemeClr val="dk1"/>
              </a:solidFill>
              <a:latin typeface="+mj-lt"/>
            </a:endParaRPr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BE10686D-C46F-D9D2-2964-31CAC34CD68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165733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3" name="Google Shape;643;p78"/>
          <p:cNvSpPr txBox="1">
            <a:spLocks noGrp="1"/>
          </p:cNvSpPr>
          <p:nvPr>
            <p:ph type="title"/>
          </p:nvPr>
        </p:nvSpPr>
        <p:spPr>
          <a:xfrm>
            <a:off x="2714550" y="284296"/>
            <a:ext cx="3714900" cy="515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" sz="2600" dirty="0"/>
              <a:t>Model Comparison</a:t>
            </a:r>
            <a:endParaRPr sz="26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498B60C-9630-7098-5FDA-93F894CFBFF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29227" y="955223"/>
            <a:ext cx="5722902" cy="149228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5FC3C969-C760-59CE-A528-F927DD74EFFF}"/>
              </a:ext>
            </a:extLst>
          </p:cNvPr>
          <p:cNvSpPr txBox="1"/>
          <p:nvPr/>
        </p:nvSpPr>
        <p:spPr>
          <a:xfrm>
            <a:off x="492512" y="2695996"/>
            <a:ext cx="4723038" cy="22467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rtl="0">
              <a:spcBef>
                <a:spcPts val="0"/>
              </a:spcBef>
              <a:spcAft>
                <a:spcPts val="0"/>
              </a:spcAft>
            </a:pPr>
            <a:r>
              <a:rPr lang="en-US" sz="1400" b="0" i="0" u="none" strike="noStrike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Selecting the best  model requires identifying the one with the least tradeoff between performance and complexity. </a:t>
            </a:r>
          </a:p>
          <a:p>
            <a:pPr rtl="0">
              <a:spcBef>
                <a:spcPts val="0"/>
              </a:spcBef>
              <a:spcAft>
                <a:spcPts val="0"/>
              </a:spcAft>
            </a:pPr>
            <a:endParaRPr lang="en-US" dirty="0">
              <a:latin typeface="Times New Roman" panose="02020603050405020304" pitchFamily="18" charset="0"/>
            </a:endParaRPr>
          </a:p>
          <a:p>
            <a:pPr rtl="0">
              <a:spcBef>
                <a:spcPts val="0"/>
              </a:spcBef>
              <a:spcAft>
                <a:spcPts val="0"/>
              </a:spcAft>
            </a:pPr>
            <a:r>
              <a:rPr lang="en-US" dirty="0">
                <a:latin typeface="Times New Roman" panose="02020603050405020304" pitchFamily="18" charset="0"/>
              </a:rPr>
              <a:t>A</a:t>
            </a:r>
            <a:r>
              <a:rPr lang="en-US" sz="1400" b="0" i="0" u="none" strike="noStrike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ll the models have an approximately similar RMSE. However, model 4, with 3 predictors, is much less complex.</a:t>
            </a:r>
          </a:p>
          <a:p>
            <a:pPr rtl="0">
              <a:spcBef>
                <a:spcPts val="0"/>
              </a:spcBef>
              <a:spcAft>
                <a:spcPts val="0"/>
              </a:spcAft>
            </a:pPr>
            <a:endParaRPr lang="en-US" sz="1400" b="0" i="0" u="none" strike="noStrike" dirty="0">
              <a:solidFill>
                <a:srgbClr val="000000"/>
              </a:solidFill>
              <a:effectLst/>
              <a:latin typeface="Times New Roman" panose="02020603050405020304" pitchFamily="18" charset="0"/>
            </a:endParaRPr>
          </a:p>
          <a:p>
            <a:pPr rtl="0">
              <a:spcBef>
                <a:spcPts val="0"/>
              </a:spcBef>
              <a:spcAft>
                <a:spcPts val="0"/>
              </a:spcAft>
            </a:pPr>
            <a:r>
              <a:rPr lang="en-US" sz="1400" b="0" i="0" u="none" strike="noStrike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Thus</a:t>
            </a:r>
            <a:r>
              <a:rPr lang="en-US" sz="1400" b="0" i="0" u="none" strike="noStrike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, we choose model 4 as our predictive model for total quantity.  </a:t>
            </a:r>
            <a:endParaRPr lang="en-US" b="0" dirty="0">
              <a:effectLst/>
            </a:endParaRPr>
          </a:p>
          <a:p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328296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9" name="Google Shape;649;p79"/>
          <p:cNvSpPr txBox="1"/>
          <p:nvPr/>
        </p:nvSpPr>
        <p:spPr>
          <a:xfrm>
            <a:off x="2825099" y="2287050"/>
            <a:ext cx="4122841" cy="5693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500">
                <a:solidFill>
                  <a:schemeClr val="dk1"/>
                </a:solidFill>
                <a:latin typeface="+mj-lt"/>
                <a:ea typeface="Vidaloka"/>
                <a:cs typeface="Vidaloka"/>
                <a:sym typeface="Vidaloka"/>
              </a:rPr>
              <a:t>C. 	Regression Trees</a:t>
            </a:r>
            <a:endParaRPr sz="2500">
              <a:latin typeface="+mj-lt"/>
            </a:endParaRPr>
          </a:p>
        </p:txBody>
      </p: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4" name="Google Shape;654;p80"/>
          <p:cNvSpPr txBox="1">
            <a:spLocks noGrp="1"/>
          </p:cNvSpPr>
          <p:nvPr>
            <p:ph type="title"/>
          </p:nvPr>
        </p:nvSpPr>
        <p:spPr>
          <a:xfrm>
            <a:off x="2714550" y="546624"/>
            <a:ext cx="3714900" cy="515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600" dirty="0">
                <a:latin typeface="+mj-lt"/>
              </a:rPr>
              <a:t>Tree 1</a:t>
            </a:r>
            <a:endParaRPr sz="2600" dirty="0">
              <a:latin typeface="+mj-lt"/>
            </a:endParaRPr>
          </a:p>
        </p:txBody>
      </p:sp>
      <p:sp>
        <p:nvSpPr>
          <p:cNvPr id="655" name="Google Shape;655;p80"/>
          <p:cNvSpPr txBox="1"/>
          <p:nvPr/>
        </p:nvSpPr>
        <p:spPr>
          <a:xfrm>
            <a:off x="0" y="941678"/>
            <a:ext cx="3180425" cy="40626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dk1"/>
                </a:solidFill>
                <a:latin typeface="+mj-lt"/>
                <a:ea typeface="Montserrat"/>
                <a:cs typeface="Montserrat"/>
                <a:sym typeface="Montserrat"/>
              </a:rPr>
              <a:t>All Predictors</a:t>
            </a:r>
          </a:p>
          <a:p>
            <a:pPr marL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chemeClr val="dk1"/>
                </a:solidFill>
                <a:latin typeface="+mj-lt"/>
                <a:ea typeface="Montserrat"/>
                <a:cs typeface="Montserrat"/>
                <a:sym typeface="Montserrat"/>
              </a:rPr>
              <a:t>Variables actually used in tree1 construction:</a:t>
            </a:r>
          </a:p>
          <a:p>
            <a:pPr marL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chemeClr val="dk1"/>
                </a:solidFill>
                <a:latin typeface="+mj-lt"/>
                <a:ea typeface="Montserrat"/>
                <a:cs typeface="Montserrat"/>
                <a:sym typeface="Montserrat"/>
              </a:rPr>
              <a:t>Brand, Casa, </a:t>
            </a:r>
            <a:r>
              <a:rPr lang="en-US" dirty="0" err="1">
                <a:solidFill>
                  <a:schemeClr val="dk1"/>
                </a:solidFill>
                <a:latin typeface="+mj-lt"/>
                <a:ea typeface="Montserrat"/>
                <a:cs typeface="Montserrat"/>
                <a:sym typeface="Montserrat"/>
              </a:rPr>
              <a:t>Connectivity.Options</a:t>
            </a:r>
            <a:r>
              <a:rPr lang="en-US" dirty="0">
                <a:solidFill>
                  <a:schemeClr val="dk1"/>
                </a:solidFill>
                <a:latin typeface="+mj-lt"/>
                <a:ea typeface="Montserrat"/>
                <a:cs typeface="Montserrat"/>
                <a:sym typeface="Montserrat"/>
              </a:rPr>
              <a:t>, </a:t>
            </a:r>
            <a:r>
              <a:rPr lang="en-US" dirty="0" err="1">
                <a:solidFill>
                  <a:schemeClr val="dk1"/>
                </a:solidFill>
                <a:latin typeface="+mj-lt"/>
                <a:ea typeface="Montserrat"/>
                <a:cs typeface="Montserrat"/>
                <a:sym typeface="Montserrat"/>
              </a:rPr>
              <a:t>Energy.Efficiency</a:t>
            </a:r>
            <a:r>
              <a:rPr lang="en-US" dirty="0">
                <a:solidFill>
                  <a:schemeClr val="dk1"/>
                </a:solidFill>
                <a:latin typeface="+mj-lt"/>
                <a:ea typeface="Montserrat"/>
                <a:cs typeface="Montserrat"/>
                <a:sym typeface="Montserrat"/>
              </a:rPr>
              <a:t>, Inches, Resolution,   </a:t>
            </a:r>
            <a:r>
              <a:rPr lang="en-US" dirty="0" err="1">
                <a:solidFill>
                  <a:schemeClr val="dk1"/>
                </a:solidFill>
                <a:latin typeface="+mj-lt"/>
                <a:ea typeface="Montserrat"/>
                <a:cs typeface="Montserrat"/>
                <a:sym typeface="Montserrat"/>
              </a:rPr>
              <a:t>Sound.Quality</a:t>
            </a:r>
            <a:r>
              <a:rPr lang="en-US" dirty="0">
                <a:solidFill>
                  <a:schemeClr val="dk1"/>
                </a:solidFill>
                <a:latin typeface="+mj-lt"/>
                <a:ea typeface="Montserrat"/>
                <a:cs typeface="Montserrat"/>
                <a:sym typeface="Montserrat"/>
              </a:rPr>
              <a:t>, </a:t>
            </a:r>
            <a:r>
              <a:rPr lang="en-US" dirty="0" err="1">
                <a:solidFill>
                  <a:schemeClr val="dk1"/>
                </a:solidFill>
                <a:latin typeface="+mj-lt"/>
                <a:ea typeface="Montserrat"/>
                <a:cs typeface="Montserrat"/>
                <a:sym typeface="Montserrat"/>
              </a:rPr>
              <a:t>Unit.Price</a:t>
            </a:r>
            <a:r>
              <a:rPr lang="en-US" dirty="0">
                <a:solidFill>
                  <a:schemeClr val="dk1"/>
                </a:solidFill>
                <a:latin typeface="+mj-lt"/>
                <a:ea typeface="Montserrat"/>
                <a:cs typeface="Montserrat"/>
                <a:sym typeface="Montserrat"/>
              </a:rPr>
              <a:t>      	</a:t>
            </a:r>
            <a:endParaRPr dirty="0">
              <a:solidFill>
                <a:schemeClr val="dk1"/>
              </a:solidFill>
              <a:latin typeface="+mj-lt"/>
              <a:ea typeface="Montserrat"/>
              <a:cs typeface="Montserrat"/>
              <a:sym typeface="Montserrat"/>
            </a:endParaRPr>
          </a:p>
          <a:p>
            <a:pPr marL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dk1"/>
                </a:solidFill>
                <a:latin typeface="+mj-lt"/>
                <a:ea typeface="Montserrat"/>
                <a:cs typeface="Montserrat"/>
                <a:sym typeface="Montserrat"/>
              </a:rPr>
              <a:t>(cp) of 0.0001</a:t>
            </a:r>
            <a:endParaRPr dirty="0">
              <a:solidFill>
                <a:schemeClr val="dk1"/>
              </a:solidFill>
              <a:latin typeface="+mj-lt"/>
              <a:ea typeface="Montserrat"/>
              <a:cs typeface="Montserrat"/>
              <a:sym typeface="Montserrat"/>
            </a:endParaRPr>
          </a:p>
          <a:p>
            <a:pPr marL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dk1"/>
                </a:solidFill>
                <a:latin typeface="+mj-lt"/>
                <a:ea typeface="Montserrat"/>
                <a:cs typeface="Montserrat"/>
                <a:sym typeface="Montserrat"/>
              </a:rPr>
              <a:t>minimum bucket size of 50</a:t>
            </a:r>
            <a:endParaRPr dirty="0">
              <a:solidFill>
                <a:schemeClr val="dk1"/>
              </a:solidFill>
              <a:latin typeface="+mj-lt"/>
              <a:ea typeface="Montserrat"/>
              <a:cs typeface="Montserrat"/>
              <a:sym typeface="Montserrat"/>
            </a:endParaRPr>
          </a:p>
          <a:p>
            <a:pPr marL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dk1"/>
                </a:solidFill>
                <a:latin typeface="+mj-lt"/>
                <a:ea typeface="Montserrat"/>
                <a:cs typeface="Montserrat"/>
                <a:sym typeface="Montserrat"/>
              </a:rPr>
              <a:t>minimum split of 100</a:t>
            </a:r>
            <a:endParaRPr dirty="0">
              <a:solidFill>
                <a:schemeClr val="dk1"/>
              </a:solidFill>
              <a:latin typeface="+mj-lt"/>
              <a:ea typeface="Montserrat"/>
              <a:cs typeface="Montserrat"/>
              <a:sym typeface="Montserrat"/>
            </a:endParaRPr>
          </a:p>
          <a:p>
            <a:pPr marL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dk1"/>
                </a:solidFill>
                <a:latin typeface="+mj-lt"/>
                <a:ea typeface="Montserrat"/>
                <a:cs typeface="Montserrat"/>
                <a:sym typeface="Montserrat"/>
              </a:rPr>
              <a:t>maximum depth of 10</a:t>
            </a:r>
            <a:endParaRPr dirty="0">
              <a:solidFill>
                <a:schemeClr val="dk1"/>
              </a:solidFill>
              <a:latin typeface="+mj-lt"/>
              <a:ea typeface="Montserrat"/>
              <a:cs typeface="Montserrat"/>
              <a:sym typeface="Montserrat"/>
            </a:endParaRPr>
          </a:p>
          <a:p>
            <a:pPr marL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dk1"/>
                </a:solidFill>
                <a:latin typeface="+mj-lt"/>
                <a:ea typeface="Montserrat"/>
                <a:cs typeface="Montserrat"/>
                <a:sym typeface="Montserrat"/>
              </a:rPr>
              <a:t>Lowest xerror approach</a:t>
            </a:r>
            <a:endParaRPr dirty="0">
              <a:solidFill>
                <a:schemeClr val="dk1"/>
              </a:solidFill>
              <a:latin typeface="+mj-lt"/>
              <a:ea typeface="Montserrat"/>
              <a:cs typeface="Montserrat"/>
              <a:sym typeface="Montserrat"/>
            </a:endParaRPr>
          </a:p>
          <a:p>
            <a:pPr marL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dirty="0">
              <a:solidFill>
                <a:schemeClr val="dk1"/>
              </a:solidFill>
              <a:latin typeface="+mj-lt"/>
              <a:ea typeface="Montserrat"/>
              <a:cs typeface="Montserrat"/>
              <a:sym typeface="Montserrat"/>
            </a:endParaRPr>
          </a:p>
        </p:txBody>
      </p:sp>
      <p:pic>
        <p:nvPicPr>
          <p:cNvPr id="656" name="Google Shape;656;p80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3399500" y="1562100"/>
            <a:ext cx="5525425" cy="1704975"/>
          </a:xfrm>
          <a:prstGeom prst="rect">
            <a:avLst/>
          </a:prstGeom>
          <a:noFill/>
          <a:ln>
            <a:noFill/>
          </a:ln>
        </p:spPr>
      </p:pic>
      <p:sp>
        <p:nvSpPr>
          <p:cNvPr id="657" name="Google Shape;657;p80"/>
          <p:cNvSpPr txBox="1"/>
          <p:nvPr/>
        </p:nvSpPr>
        <p:spPr>
          <a:xfrm>
            <a:off x="3557418" y="3284376"/>
            <a:ext cx="4471200" cy="1312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>
                <a:solidFill>
                  <a:schemeClr val="dk1"/>
                </a:solidFill>
                <a:latin typeface="+mj-lt"/>
                <a:ea typeface="Montserrat"/>
                <a:cs typeface="Montserrat"/>
                <a:sym typeface="Montserrat"/>
              </a:rPr>
              <a:t>root node error= 2871206/5879 = 488.38</a:t>
            </a:r>
          </a:p>
          <a:p>
            <a:pPr marL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>
                <a:solidFill>
                  <a:schemeClr val="dk1"/>
                </a:solidFill>
                <a:latin typeface="+mj-lt"/>
                <a:ea typeface="Montserrat"/>
                <a:cs typeface="Montserrat"/>
                <a:sym typeface="Montserrat"/>
              </a:rPr>
              <a:t>RMSE </a:t>
            </a:r>
            <a:r>
              <a:rPr lang="en-US" dirty="0">
                <a:solidFill>
                  <a:schemeClr val="dk1"/>
                </a:solidFill>
                <a:latin typeface="+mj-lt"/>
                <a:ea typeface="Montserrat"/>
                <a:cs typeface="Montserrat"/>
                <a:sym typeface="Montserrat"/>
              </a:rPr>
              <a:t>of 10.12551</a:t>
            </a:r>
          </a:p>
          <a:p>
            <a:pPr marL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chemeClr val="dk2"/>
                </a:solidFill>
                <a:latin typeface="+mj-lt"/>
                <a:ea typeface="Montserrat"/>
                <a:cs typeface="Montserrat"/>
                <a:sym typeface="Montserrat"/>
              </a:rPr>
              <a:t>Mean quantity of 84.6248 in the validation dataset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chemeClr val="dk2"/>
                </a:solidFill>
                <a:latin typeface="+mj-lt"/>
                <a:ea typeface="Montserrat"/>
                <a:cs typeface="Montserrat"/>
                <a:sym typeface="Montserrat"/>
              </a:rPr>
              <a:t>Nodes=63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US" dirty="0" err="1">
                <a:solidFill>
                  <a:schemeClr val="dk1"/>
                </a:solidFill>
                <a:latin typeface="+mj-lt"/>
                <a:ea typeface="Montserrat"/>
                <a:cs typeface="Montserrat"/>
                <a:sym typeface="Montserrat"/>
              </a:rPr>
              <a:t>Leafs</a:t>
            </a:r>
            <a:r>
              <a:rPr lang="en-US" dirty="0">
                <a:solidFill>
                  <a:schemeClr val="dk1"/>
                </a:solidFill>
                <a:latin typeface="+mj-lt"/>
                <a:ea typeface="Montserrat"/>
                <a:cs typeface="Montserrat"/>
                <a:sym typeface="Montserrat"/>
              </a:rPr>
              <a:t>=32</a:t>
            </a:r>
            <a:endParaRPr lang="en-US" dirty="0">
              <a:solidFill>
                <a:schemeClr val="dk2"/>
              </a:solidFill>
              <a:latin typeface="+mj-lt"/>
              <a:ea typeface="Montserrat"/>
              <a:cs typeface="Montserrat"/>
              <a:sym typeface="Montserrat"/>
            </a:endParaRPr>
          </a:p>
        </p:txBody>
      </p: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2" name="Google Shape;662;p81"/>
          <p:cNvSpPr txBox="1">
            <a:spLocks noGrp="1"/>
          </p:cNvSpPr>
          <p:nvPr>
            <p:ph type="title"/>
          </p:nvPr>
        </p:nvSpPr>
        <p:spPr>
          <a:xfrm>
            <a:off x="2714550" y="546624"/>
            <a:ext cx="3714900" cy="515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600">
                <a:latin typeface="+mj-lt"/>
              </a:rPr>
              <a:t>Tree 1.1</a:t>
            </a:r>
            <a:endParaRPr sz="2600">
              <a:latin typeface="+mj-lt"/>
            </a:endParaRPr>
          </a:p>
        </p:txBody>
      </p:sp>
      <p:sp>
        <p:nvSpPr>
          <p:cNvPr id="663" name="Google Shape;663;p81"/>
          <p:cNvSpPr txBox="1"/>
          <p:nvPr/>
        </p:nvSpPr>
        <p:spPr>
          <a:xfrm>
            <a:off x="547545" y="287240"/>
            <a:ext cx="3475200" cy="48782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dk1"/>
                </a:solidFill>
                <a:latin typeface="+mj-lt"/>
                <a:ea typeface="Montserrat"/>
                <a:cs typeface="Montserrat"/>
                <a:sym typeface="Montserrat"/>
              </a:rPr>
              <a:t>All Predictors</a:t>
            </a:r>
            <a:endParaRPr dirty="0">
              <a:solidFill>
                <a:schemeClr val="dk1"/>
              </a:solidFill>
              <a:latin typeface="+mj-lt"/>
              <a:ea typeface="Montserrat"/>
              <a:cs typeface="Montserrat"/>
              <a:sym typeface="Montserrat"/>
            </a:endParaRPr>
          </a:p>
          <a:p>
            <a:pPr marL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dirty="0">
              <a:solidFill>
                <a:schemeClr val="dk1"/>
              </a:solidFill>
              <a:latin typeface="+mj-lt"/>
              <a:ea typeface="Montserrat"/>
              <a:cs typeface="Montserrat"/>
              <a:sym typeface="Montserrat"/>
            </a:endParaRPr>
          </a:p>
          <a:p>
            <a:pPr marL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dk1"/>
                </a:solidFill>
                <a:latin typeface="+mj-lt"/>
                <a:ea typeface="Montserrat"/>
                <a:cs typeface="Montserrat"/>
                <a:sym typeface="Montserrat"/>
              </a:rPr>
              <a:t>(cp) of 0.0001</a:t>
            </a:r>
            <a:endParaRPr dirty="0">
              <a:solidFill>
                <a:schemeClr val="dk1"/>
              </a:solidFill>
              <a:latin typeface="+mj-lt"/>
              <a:ea typeface="Montserrat"/>
              <a:cs typeface="Montserrat"/>
              <a:sym typeface="Montserrat"/>
            </a:endParaRPr>
          </a:p>
          <a:p>
            <a:pPr marL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dk1"/>
                </a:solidFill>
                <a:latin typeface="+mj-lt"/>
                <a:ea typeface="Montserrat"/>
                <a:cs typeface="Montserrat"/>
                <a:sym typeface="Montserrat"/>
              </a:rPr>
              <a:t>minimum bucket size of 50</a:t>
            </a:r>
            <a:endParaRPr dirty="0">
              <a:solidFill>
                <a:schemeClr val="dk1"/>
              </a:solidFill>
              <a:latin typeface="+mj-lt"/>
              <a:ea typeface="Montserrat"/>
              <a:cs typeface="Montserrat"/>
              <a:sym typeface="Montserrat"/>
            </a:endParaRPr>
          </a:p>
          <a:p>
            <a:pPr marL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dk1"/>
                </a:solidFill>
                <a:latin typeface="+mj-lt"/>
                <a:ea typeface="Montserrat"/>
                <a:cs typeface="Montserrat"/>
                <a:sym typeface="Montserrat"/>
              </a:rPr>
              <a:t>minimum split of 100</a:t>
            </a:r>
            <a:endParaRPr dirty="0">
              <a:solidFill>
                <a:schemeClr val="dk1"/>
              </a:solidFill>
              <a:latin typeface="+mj-lt"/>
              <a:ea typeface="Montserrat"/>
              <a:cs typeface="Montserrat"/>
              <a:sym typeface="Montserrat"/>
            </a:endParaRPr>
          </a:p>
          <a:p>
            <a:pPr marL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dk1"/>
                </a:solidFill>
                <a:latin typeface="+mj-lt"/>
                <a:ea typeface="Montserrat"/>
                <a:cs typeface="Montserrat"/>
                <a:sym typeface="Montserrat"/>
              </a:rPr>
              <a:t>maximum depth of 10</a:t>
            </a:r>
            <a:endParaRPr dirty="0">
              <a:solidFill>
                <a:schemeClr val="dk1"/>
              </a:solidFill>
              <a:latin typeface="+mj-lt"/>
              <a:ea typeface="Montserrat"/>
              <a:cs typeface="Montserrat"/>
              <a:sym typeface="Montserrat"/>
            </a:endParaRPr>
          </a:p>
          <a:p>
            <a:pPr marL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dirty="0">
              <a:solidFill>
                <a:schemeClr val="dk1"/>
              </a:solidFill>
              <a:latin typeface="+mj-lt"/>
              <a:ea typeface="Montserrat"/>
              <a:cs typeface="Montserrat"/>
              <a:sym typeface="Montserrat"/>
            </a:endParaRPr>
          </a:p>
          <a:p>
            <a:pPr marL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dk1"/>
                </a:solidFill>
                <a:latin typeface="+mj-lt"/>
                <a:ea typeface="Montserrat"/>
                <a:cs typeface="Montserrat"/>
                <a:sym typeface="Montserrat"/>
              </a:rPr>
              <a:t>Best Pruning Approach</a:t>
            </a:r>
          </a:p>
          <a:p>
            <a:pPr marL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dk1"/>
                </a:solidFill>
                <a:latin typeface="+mj-lt"/>
                <a:ea typeface="Montserrat"/>
                <a:cs typeface="Montserrat"/>
                <a:sym typeface="Montserrat"/>
              </a:rPr>
              <a:t>Best cp by r: row 30</a:t>
            </a:r>
            <a:endParaRPr dirty="0">
              <a:solidFill>
                <a:schemeClr val="dk1"/>
              </a:solidFill>
              <a:latin typeface="+mj-lt"/>
              <a:ea typeface="Montserrat"/>
              <a:cs typeface="Montserrat"/>
              <a:sym typeface="Montserrat"/>
            </a:endParaRPr>
          </a:p>
          <a:p>
            <a:pPr marL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dk1"/>
                </a:solidFill>
                <a:latin typeface="+mj-lt"/>
                <a:ea typeface="Montserrat"/>
                <a:cs typeface="Montserrat"/>
                <a:sym typeface="Montserrat"/>
              </a:rPr>
              <a:t>0.21858 + 0.011727=0.230307 &gt; 0.21799</a:t>
            </a:r>
            <a:endParaRPr dirty="0">
              <a:solidFill>
                <a:schemeClr val="dk1"/>
              </a:solidFill>
              <a:latin typeface="+mj-lt"/>
              <a:ea typeface="Montserrat"/>
              <a:cs typeface="Montserrat"/>
              <a:sym typeface="Montserrat"/>
            </a:endParaRPr>
          </a:p>
          <a:p>
            <a:pPr marL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dk1"/>
                </a:solidFill>
                <a:latin typeface="+mj-lt"/>
                <a:ea typeface="Montserrat"/>
                <a:cs typeface="Montserrat"/>
                <a:sym typeface="Montserrat"/>
              </a:rPr>
              <a:t>We can consider cp=0.00052630 </a:t>
            </a:r>
            <a:endParaRPr dirty="0">
              <a:solidFill>
                <a:schemeClr val="dk1"/>
              </a:solidFill>
              <a:latin typeface="+mj-lt"/>
              <a:ea typeface="Montserrat"/>
              <a:cs typeface="Montserrat"/>
              <a:sym typeface="Montserrat"/>
            </a:endParaRPr>
          </a:p>
          <a:p>
            <a:pPr marL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dk1"/>
                </a:solidFill>
                <a:latin typeface="+mj-lt"/>
                <a:ea typeface="Montserrat"/>
                <a:cs typeface="Montserrat"/>
                <a:sym typeface="Montserrat"/>
              </a:rPr>
              <a:t>RMSE of 10.574883</a:t>
            </a:r>
            <a:endParaRPr dirty="0">
              <a:solidFill>
                <a:schemeClr val="dk1"/>
              </a:solidFill>
              <a:latin typeface="+mj-lt"/>
              <a:ea typeface="Montserrat"/>
              <a:cs typeface="Montserrat"/>
              <a:sym typeface="Montserrat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" sz="1600" dirty="0">
                <a:solidFill>
                  <a:schemeClr val="dk1"/>
                </a:solidFill>
                <a:latin typeface="+mj-lt"/>
                <a:ea typeface="Montserrat"/>
                <a:cs typeface="Montserrat"/>
                <a:sym typeface="Montserrat"/>
              </a:rPr>
              <a:t>Nodes=61</a:t>
            </a:r>
            <a:endParaRPr sz="1600" dirty="0">
              <a:solidFill>
                <a:schemeClr val="dk1"/>
              </a:solidFill>
              <a:latin typeface="+mj-lt"/>
              <a:ea typeface="Montserrat"/>
              <a:cs typeface="Montserrat"/>
              <a:sym typeface="Montserrat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" sz="1600" dirty="0">
                <a:solidFill>
                  <a:schemeClr val="dk1"/>
                </a:solidFill>
                <a:latin typeface="+mj-lt"/>
                <a:ea typeface="Montserrat"/>
                <a:cs typeface="Montserrat"/>
                <a:sym typeface="Montserrat"/>
              </a:rPr>
              <a:t>Leafs=31</a:t>
            </a:r>
            <a:endParaRPr sz="1600" dirty="0">
              <a:solidFill>
                <a:schemeClr val="dk1"/>
              </a:solidFill>
              <a:latin typeface="+mj-lt"/>
              <a:ea typeface="Montserrat"/>
              <a:cs typeface="Montserrat"/>
              <a:sym typeface="Montserrat"/>
            </a:endParaRPr>
          </a:p>
          <a:p>
            <a:pPr marL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dirty="0">
              <a:solidFill>
                <a:schemeClr val="dk1"/>
              </a:solidFill>
              <a:latin typeface="+mj-lt"/>
              <a:ea typeface="Montserrat"/>
              <a:cs typeface="Montserrat"/>
              <a:sym typeface="Montserrat"/>
            </a:endParaRPr>
          </a:p>
        </p:txBody>
      </p:sp>
      <p:pic>
        <p:nvPicPr>
          <p:cNvPr id="664" name="Google Shape;664;p81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3615920" y="1399706"/>
            <a:ext cx="5401600" cy="1609725"/>
          </a:xfrm>
          <a:prstGeom prst="rect">
            <a:avLst/>
          </a:prstGeom>
          <a:noFill/>
          <a:ln>
            <a:noFill/>
          </a:ln>
        </p:spPr>
      </p:pic>
      <p:pic>
        <p:nvPicPr>
          <p:cNvPr id="665" name="Google Shape;665;p81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4132420" y="3369645"/>
            <a:ext cx="4105275" cy="1381125"/>
          </a:xfrm>
          <a:prstGeom prst="rect">
            <a:avLst/>
          </a:prstGeom>
          <a:noFill/>
          <a:ln>
            <a:noFill/>
          </a:ln>
        </p:spPr>
      </p:pic>
      <p:sp>
        <p:nvSpPr>
          <p:cNvPr id="666" name="Google Shape;666;p81"/>
          <p:cNvSpPr txBox="1"/>
          <p:nvPr/>
        </p:nvSpPr>
        <p:spPr>
          <a:xfrm>
            <a:off x="1240000" y="2690563"/>
            <a:ext cx="4471200" cy="1312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dk2"/>
              </a:solidFill>
              <a:latin typeface="+mj-lt"/>
              <a:ea typeface="Montserrat"/>
              <a:cs typeface="Montserrat"/>
              <a:sym typeface="Montserrat"/>
            </a:endParaRPr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1" name="Google Shape;671;p82"/>
          <p:cNvSpPr txBox="1">
            <a:spLocks noGrp="1"/>
          </p:cNvSpPr>
          <p:nvPr>
            <p:ph type="title"/>
          </p:nvPr>
        </p:nvSpPr>
        <p:spPr>
          <a:xfrm>
            <a:off x="2714550" y="546624"/>
            <a:ext cx="3714900" cy="515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600" dirty="0">
                <a:latin typeface="+mj-lt"/>
              </a:rPr>
              <a:t>Tree 2</a:t>
            </a:r>
            <a:endParaRPr sz="2600" dirty="0">
              <a:latin typeface="+mj-lt"/>
            </a:endParaRPr>
          </a:p>
        </p:txBody>
      </p:sp>
      <p:sp>
        <p:nvSpPr>
          <p:cNvPr id="672" name="Google Shape;672;p82"/>
          <p:cNvSpPr txBox="1"/>
          <p:nvPr/>
        </p:nvSpPr>
        <p:spPr>
          <a:xfrm>
            <a:off x="593375" y="1210525"/>
            <a:ext cx="3475200" cy="30931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dk1"/>
                </a:solidFill>
                <a:latin typeface="+mj-lt"/>
                <a:ea typeface="Montserrat"/>
                <a:cs typeface="Montserrat"/>
                <a:sym typeface="Montserrat"/>
              </a:rPr>
              <a:t>All Predictors</a:t>
            </a:r>
            <a:endParaRPr dirty="0">
              <a:solidFill>
                <a:schemeClr val="dk1"/>
              </a:solidFill>
              <a:latin typeface="+mj-lt"/>
              <a:ea typeface="Montserrat"/>
              <a:cs typeface="Montserrat"/>
              <a:sym typeface="Montserrat"/>
            </a:endParaRPr>
          </a:p>
          <a:p>
            <a:pPr marL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dirty="0">
              <a:solidFill>
                <a:schemeClr val="dk1"/>
              </a:solidFill>
              <a:latin typeface="+mj-lt"/>
              <a:ea typeface="Montserrat"/>
              <a:cs typeface="Montserrat"/>
              <a:sym typeface="Montserrat"/>
            </a:endParaRPr>
          </a:p>
          <a:p>
            <a:pPr marL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dk1"/>
                </a:solidFill>
                <a:latin typeface="+mj-lt"/>
                <a:ea typeface="Montserrat"/>
                <a:cs typeface="Montserrat"/>
                <a:sym typeface="Montserrat"/>
              </a:rPr>
              <a:t>(cp) of 0.01</a:t>
            </a:r>
            <a:endParaRPr dirty="0">
              <a:solidFill>
                <a:schemeClr val="dk1"/>
              </a:solidFill>
              <a:latin typeface="+mj-lt"/>
              <a:ea typeface="Montserrat"/>
              <a:cs typeface="Montserrat"/>
              <a:sym typeface="Montserrat"/>
            </a:endParaRPr>
          </a:p>
          <a:p>
            <a:pPr marL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dk1"/>
                </a:solidFill>
                <a:latin typeface="+mj-lt"/>
                <a:ea typeface="Montserrat"/>
                <a:cs typeface="Montserrat"/>
                <a:sym typeface="Montserrat"/>
              </a:rPr>
              <a:t>minimum bucket size of 50</a:t>
            </a:r>
            <a:endParaRPr dirty="0">
              <a:solidFill>
                <a:schemeClr val="dk1"/>
              </a:solidFill>
              <a:latin typeface="+mj-lt"/>
              <a:ea typeface="Montserrat"/>
              <a:cs typeface="Montserrat"/>
              <a:sym typeface="Montserrat"/>
            </a:endParaRPr>
          </a:p>
          <a:p>
            <a:pPr marL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dk1"/>
                </a:solidFill>
                <a:latin typeface="+mj-lt"/>
                <a:ea typeface="Montserrat"/>
                <a:cs typeface="Montserrat"/>
                <a:sym typeface="Montserrat"/>
              </a:rPr>
              <a:t>minimum split of 100</a:t>
            </a:r>
            <a:endParaRPr dirty="0">
              <a:solidFill>
                <a:schemeClr val="dk1"/>
              </a:solidFill>
              <a:latin typeface="+mj-lt"/>
              <a:ea typeface="Montserrat"/>
              <a:cs typeface="Montserrat"/>
              <a:sym typeface="Montserrat"/>
            </a:endParaRPr>
          </a:p>
          <a:p>
            <a:pPr marL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dk1"/>
                </a:solidFill>
                <a:latin typeface="+mj-lt"/>
                <a:ea typeface="Montserrat"/>
                <a:cs typeface="Montserrat"/>
                <a:sym typeface="Montserrat"/>
              </a:rPr>
              <a:t>maximum depth of 10</a:t>
            </a:r>
            <a:endParaRPr dirty="0">
              <a:solidFill>
                <a:schemeClr val="dk1"/>
              </a:solidFill>
              <a:latin typeface="+mj-lt"/>
              <a:ea typeface="Montserrat"/>
              <a:cs typeface="Montserrat"/>
              <a:sym typeface="Montserrat"/>
            </a:endParaRPr>
          </a:p>
          <a:p>
            <a:pPr marL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dk1"/>
                </a:solidFill>
                <a:latin typeface="+mj-lt"/>
                <a:ea typeface="Montserrat"/>
                <a:cs typeface="Montserrat"/>
                <a:sym typeface="Montserrat"/>
              </a:rPr>
              <a:t>Lowest xerror approach</a:t>
            </a:r>
            <a:endParaRPr dirty="0">
              <a:solidFill>
                <a:schemeClr val="dk1"/>
              </a:solidFill>
              <a:latin typeface="+mj-lt"/>
              <a:ea typeface="Montserrat"/>
              <a:cs typeface="Montserrat"/>
              <a:sym typeface="Montserrat"/>
            </a:endParaRPr>
          </a:p>
          <a:p>
            <a:pPr marL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dirty="0">
              <a:solidFill>
                <a:schemeClr val="dk1"/>
              </a:solidFill>
              <a:latin typeface="+mj-lt"/>
              <a:ea typeface="Montserrat"/>
              <a:cs typeface="Montserrat"/>
              <a:sym typeface="Montserrat"/>
            </a:endParaRPr>
          </a:p>
          <a:p>
            <a:pPr marL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dk1"/>
                </a:solidFill>
                <a:latin typeface="+mj-lt"/>
                <a:ea typeface="Montserrat"/>
                <a:cs typeface="Montserrat"/>
                <a:sym typeface="Montserrat"/>
              </a:rPr>
              <a:t>RMSE of 10.805772</a:t>
            </a:r>
            <a:endParaRPr dirty="0">
              <a:solidFill>
                <a:schemeClr val="dk1"/>
              </a:solidFill>
              <a:latin typeface="+mj-lt"/>
              <a:ea typeface="Montserrat"/>
              <a:cs typeface="Montserrat"/>
              <a:sym typeface="Montserrat"/>
            </a:endParaRPr>
          </a:p>
        </p:txBody>
      </p:sp>
      <p:sp>
        <p:nvSpPr>
          <p:cNvPr id="5" name="Google Shape;686;p84">
            <a:extLst>
              <a:ext uri="{FF2B5EF4-FFF2-40B4-BE49-F238E27FC236}">
                <a16:creationId xmlns:a16="http://schemas.microsoft.com/office/drawing/2014/main" id="{9F6E2AA0-1309-4F4D-AFAD-56203618E515}"/>
              </a:ext>
            </a:extLst>
          </p:cNvPr>
          <p:cNvSpPr txBox="1"/>
          <p:nvPr/>
        </p:nvSpPr>
        <p:spPr>
          <a:xfrm>
            <a:off x="4071750" y="1285875"/>
            <a:ext cx="4715400" cy="2339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latin typeface="+mj-lt"/>
              </a:rPr>
              <a:t>      CP            nsplit    rel error   xerror    	xstd</a:t>
            </a:r>
            <a:endParaRPr dirty="0">
              <a:latin typeface="+mj-lt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latin typeface="+mj-lt"/>
              </a:rPr>
              <a:t>1  0.490422  	0   1.00000  1.00016  0.019982</a:t>
            </a:r>
            <a:endParaRPr dirty="0">
              <a:latin typeface="+mj-lt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latin typeface="+mj-lt"/>
              </a:rPr>
              <a:t>2  0.113456  	1   0.50958  0.50988  0.013895</a:t>
            </a:r>
            <a:endParaRPr dirty="0">
              <a:latin typeface="+mj-lt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latin typeface="+mj-lt"/>
              </a:rPr>
              <a:t>3  0.071939  	2   0.39612  0.39867  0.012596</a:t>
            </a:r>
            <a:endParaRPr dirty="0">
              <a:latin typeface="+mj-lt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latin typeface="+mj-lt"/>
              </a:rPr>
              <a:t>4  0.032952  	3   0.32418  0.32681  0.013012</a:t>
            </a:r>
            <a:endParaRPr dirty="0">
              <a:latin typeface="+mj-lt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latin typeface="+mj-lt"/>
              </a:rPr>
              <a:t>5  0.019342  	4   0.29123  0.29621  0.012623</a:t>
            </a:r>
            <a:endParaRPr dirty="0">
              <a:latin typeface="+mj-lt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latin typeface="+mj-lt"/>
              </a:rPr>
              <a:t>6  0.014996  	5   0.27189  0.27716  0.011766</a:t>
            </a:r>
            <a:endParaRPr dirty="0">
              <a:latin typeface="+mj-lt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latin typeface="+mj-lt"/>
              </a:rPr>
              <a:t>7  0.010799  	6   0.25689  0.26447  0.011554</a:t>
            </a:r>
            <a:endParaRPr dirty="0">
              <a:latin typeface="+mj-lt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latin typeface="+mj-lt"/>
              </a:rPr>
              <a:t>8  0.010097  	7   0.24609  0.25126  0.011591</a:t>
            </a:r>
            <a:endParaRPr dirty="0">
              <a:latin typeface="+mj-lt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latin typeface="+mj-lt"/>
              </a:rPr>
              <a:t>9  0.010000  	8   0.23600  0.24671  0.011631</a:t>
            </a:r>
            <a:endParaRPr dirty="0">
              <a:latin typeface="+mj-lt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" name="Google Shape;501;p57"/>
          <p:cNvSpPr txBox="1">
            <a:spLocks noGrp="1"/>
          </p:cNvSpPr>
          <p:nvPr>
            <p:ph type="subTitle" idx="2"/>
          </p:nvPr>
        </p:nvSpPr>
        <p:spPr>
          <a:xfrm>
            <a:off x="3619793" y="3136277"/>
            <a:ext cx="2126100" cy="813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200" dirty="0">
                <a:latin typeface="+mn-lt"/>
              </a:rPr>
              <a:t>Crucial for developing forecasting models especially in fields like TV sales forecasting</a:t>
            </a:r>
            <a:endParaRPr sz="1200" dirty="0">
              <a:latin typeface="+mn-lt"/>
            </a:endParaRPr>
          </a:p>
        </p:txBody>
      </p:sp>
      <p:sp>
        <p:nvSpPr>
          <p:cNvPr id="502" name="Google Shape;502;p57"/>
          <p:cNvSpPr txBox="1">
            <a:spLocks noGrp="1"/>
          </p:cNvSpPr>
          <p:nvPr>
            <p:ph type="subTitle" idx="4"/>
          </p:nvPr>
        </p:nvSpPr>
        <p:spPr>
          <a:xfrm>
            <a:off x="704493" y="3136589"/>
            <a:ext cx="2126100" cy="813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200" dirty="0">
                <a:latin typeface="+mn-lt"/>
              </a:rPr>
              <a:t>Especially in sectors with rapid product turnover and unpredictable market conditions.</a:t>
            </a:r>
            <a:endParaRPr sz="1200" dirty="0">
              <a:latin typeface="+mn-lt"/>
            </a:endParaRPr>
          </a:p>
        </p:txBody>
      </p:sp>
      <p:sp>
        <p:nvSpPr>
          <p:cNvPr id="503" name="Google Shape;503;p57"/>
          <p:cNvSpPr txBox="1">
            <a:spLocks noGrp="1"/>
          </p:cNvSpPr>
          <p:nvPr>
            <p:ph type="subTitle" idx="6"/>
          </p:nvPr>
        </p:nvSpPr>
        <p:spPr>
          <a:xfrm>
            <a:off x="6268518" y="3108552"/>
            <a:ext cx="2126100" cy="813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200" dirty="0">
                <a:latin typeface="+mn-lt"/>
              </a:rPr>
              <a:t>Crucial for effective forecasting</a:t>
            </a:r>
            <a:endParaRPr sz="1200" dirty="0">
              <a:latin typeface="+mn-lt"/>
            </a:endParaRPr>
          </a:p>
        </p:txBody>
      </p:sp>
      <p:sp>
        <p:nvSpPr>
          <p:cNvPr id="504" name="Google Shape;504;p57"/>
          <p:cNvSpPr txBox="1">
            <a:spLocks noGrp="1"/>
          </p:cNvSpPr>
          <p:nvPr>
            <p:ph type="subTitle" idx="1"/>
          </p:nvPr>
        </p:nvSpPr>
        <p:spPr>
          <a:xfrm>
            <a:off x="3155905" y="2049455"/>
            <a:ext cx="2787300" cy="444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 dirty="0">
                <a:latin typeface="Arial" panose="020B0604020202020204" pitchFamily="34" charset="0"/>
                <a:cs typeface="Arial" panose="020B0604020202020204" pitchFamily="34" charset="0"/>
              </a:rPr>
              <a:t>Integration of Machine Learning Techniques</a:t>
            </a:r>
            <a:endParaRPr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5" name="Google Shape;505;p57"/>
          <p:cNvSpPr txBox="1">
            <a:spLocks noGrp="1"/>
          </p:cNvSpPr>
          <p:nvPr>
            <p:ph type="subTitle" idx="5"/>
          </p:nvPr>
        </p:nvSpPr>
        <p:spPr>
          <a:xfrm>
            <a:off x="6162068" y="1861405"/>
            <a:ext cx="2608500" cy="444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 dirty="0">
                <a:latin typeface="Arial" panose="020B0604020202020204" pitchFamily="34" charset="0"/>
                <a:cs typeface="Arial" panose="020B0604020202020204" pitchFamily="34" charset="0"/>
              </a:rPr>
              <a:t>Understanding Consumer Behavior and Sales Trends</a:t>
            </a:r>
            <a:endParaRPr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6" name="Google Shape;506;p57"/>
          <p:cNvSpPr txBox="1">
            <a:spLocks noGrp="1"/>
          </p:cNvSpPr>
          <p:nvPr>
            <p:ph type="subTitle" idx="3"/>
          </p:nvPr>
        </p:nvSpPr>
        <p:spPr>
          <a:xfrm>
            <a:off x="328543" y="1889443"/>
            <a:ext cx="2608500" cy="444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" sz="2000" dirty="0">
                <a:latin typeface="+mn-lt"/>
              </a:rPr>
              <a:t>Dynamic and Adaptive Forecasting Models</a:t>
            </a:r>
            <a:endParaRPr sz="2000" dirty="0">
              <a:latin typeface="+mn-lt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600" dirty="0">
              <a:latin typeface="+mn-lt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7577ED8-2172-6A40-8284-E6CFBAB58058}"/>
              </a:ext>
            </a:extLst>
          </p:cNvPr>
          <p:cNvSpPr/>
          <p:nvPr/>
        </p:nvSpPr>
        <p:spPr>
          <a:xfrm>
            <a:off x="704493" y="711663"/>
            <a:ext cx="80660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dirty="0"/>
              <a:t>In a dynamic world of sales forecasting, our focus is to develop forecasting models to capture the unpredictable nature of the electronics market with a focus on TV sales. </a:t>
            </a:r>
          </a:p>
        </p:txBody>
      </p:sp>
    </p:spTree>
    <p:extLst>
      <p:ext uri="{BB962C8B-B14F-4D97-AF65-F5344CB8AC3E}">
        <p14:creationId xmlns:p14="http://schemas.microsoft.com/office/powerpoint/2010/main" val="235740362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8" name="Google Shape;678;p83"/>
          <p:cNvSpPr txBox="1">
            <a:spLocks noGrp="1"/>
          </p:cNvSpPr>
          <p:nvPr>
            <p:ph type="title"/>
          </p:nvPr>
        </p:nvSpPr>
        <p:spPr>
          <a:xfrm>
            <a:off x="2714550" y="318024"/>
            <a:ext cx="3714900" cy="515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600"/>
              <a:t>Tree 2</a:t>
            </a:r>
            <a:endParaRPr sz="2600"/>
          </a:p>
        </p:txBody>
      </p:sp>
      <p:pic>
        <p:nvPicPr>
          <p:cNvPr id="679" name="Google Shape;679;p83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322158" y="1545487"/>
            <a:ext cx="6805842" cy="252867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4" name="Google Shape;684;p84"/>
          <p:cNvSpPr txBox="1">
            <a:spLocks noGrp="1"/>
          </p:cNvSpPr>
          <p:nvPr>
            <p:ph type="title"/>
          </p:nvPr>
        </p:nvSpPr>
        <p:spPr>
          <a:xfrm>
            <a:off x="2714550" y="546624"/>
            <a:ext cx="3714900" cy="515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600">
                <a:latin typeface="+mj-lt"/>
              </a:rPr>
              <a:t>Tree 2.1</a:t>
            </a:r>
            <a:endParaRPr sz="2600">
              <a:latin typeface="+mj-lt"/>
            </a:endParaRPr>
          </a:p>
        </p:txBody>
      </p:sp>
      <p:sp>
        <p:nvSpPr>
          <p:cNvPr id="685" name="Google Shape;685;p84"/>
          <p:cNvSpPr txBox="1"/>
          <p:nvPr/>
        </p:nvSpPr>
        <p:spPr>
          <a:xfrm>
            <a:off x="574250" y="1099075"/>
            <a:ext cx="4019100" cy="37394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chemeClr val="dk1"/>
                </a:solidFill>
                <a:latin typeface="+mj-lt"/>
                <a:ea typeface="Montserrat"/>
                <a:cs typeface="Montserrat"/>
                <a:sym typeface="Montserrat"/>
              </a:rPr>
              <a:t>Unit Price - Inches - Casa</a:t>
            </a:r>
            <a:endParaRPr>
              <a:solidFill>
                <a:schemeClr val="dk1"/>
              </a:solidFill>
              <a:latin typeface="+mj-lt"/>
              <a:ea typeface="Montserrat"/>
              <a:cs typeface="Montserrat"/>
              <a:sym typeface="Montserrat"/>
            </a:endParaRPr>
          </a:p>
          <a:p>
            <a:pPr marL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dk1"/>
              </a:solidFill>
              <a:latin typeface="+mj-lt"/>
              <a:ea typeface="Montserrat"/>
              <a:cs typeface="Montserrat"/>
              <a:sym typeface="Montserrat"/>
            </a:endParaRPr>
          </a:p>
          <a:p>
            <a:pPr marL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chemeClr val="dk1"/>
                </a:solidFill>
                <a:latin typeface="+mj-lt"/>
                <a:ea typeface="Montserrat"/>
                <a:cs typeface="Montserrat"/>
                <a:sym typeface="Montserrat"/>
              </a:rPr>
              <a:t>(cp) of 0.01</a:t>
            </a:r>
            <a:endParaRPr>
              <a:solidFill>
                <a:schemeClr val="dk1"/>
              </a:solidFill>
              <a:latin typeface="+mj-lt"/>
              <a:ea typeface="Montserrat"/>
              <a:cs typeface="Montserrat"/>
              <a:sym typeface="Montserrat"/>
            </a:endParaRPr>
          </a:p>
          <a:p>
            <a:pPr marL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chemeClr val="dk1"/>
                </a:solidFill>
                <a:latin typeface="+mj-lt"/>
                <a:ea typeface="Montserrat"/>
                <a:cs typeface="Montserrat"/>
                <a:sym typeface="Montserrat"/>
              </a:rPr>
              <a:t>minimum bucket size of 50</a:t>
            </a:r>
            <a:endParaRPr>
              <a:solidFill>
                <a:schemeClr val="dk1"/>
              </a:solidFill>
              <a:latin typeface="+mj-lt"/>
              <a:ea typeface="Montserrat"/>
              <a:cs typeface="Montserrat"/>
              <a:sym typeface="Montserrat"/>
            </a:endParaRPr>
          </a:p>
          <a:p>
            <a:pPr marL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chemeClr val="dk1"/>
                </a:solidFill>
                <a:latin typeface="+mj-lt"/>
                <a:ea typeface="Montserrat"/>
                <a:cs typeface="Montserrat"/>
                <a:sym typeface="Montserrat"/>
              </a:rPr>
              <a:t>minimum split of 100</a:t>
            </a:r>
            <a:endParaRPr>
              <a:solidFill>
                <a:schemeClr val="dk1"/>
              </a:solidFill>
              <a:latin typeface="+mj-lt"/>
              <a:ea typeface="Montserrat"/>
              <a:cs typeface="Montserrat"/>
              <a:sym typeface="Montserrat"/>
            </a:endParaRPr>
          </a:p>
          <a:p>
            <a:pPr marL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chemeClr val="dk1"/>
                </a:solidFill>
                <a:latin typeface="+mj-lt"/>
                <a:ea typeface="Montserrat"/>
                <a:cs typeface="Montserrat"/>
                <a:sym typeface="Montserrat"/>
              </a:rPr>
              <a:t>maximum depth of 10</a:t>
            </a:r>
            <a:endParaRPr>
              <a:solidFill>
                <a:schemeClr val="dk1"/>
              </a:solidFill>
              <a:latin typeface="+mj-lt"/>
              <a:ea typeface="Montserrat"/>
              <a:cs typeface="Montserrat"/>
              <a:sym typeface="Montserrat"/>
            </a:endParaRPr>
          </a:p>
          <a:p>
            <a:pPr marL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chemeClr val="dk1"/>
                </a:solidFill>
                <a:latin typeface="+mj-lt"/>
                <a:ea typeface="Montserrat"/>
                <a:cs typeface="Montserrat"/>
                <a:sym typeface="Montserrat"/>
              </a:rPr>
              <a:t>Best pruning approach</a:t>
            </a:r>
            <a:endParaRPr>
              <a:solidFill>
                <a:schemeClr val="dk1"/>
              </a:solidFill>
              <a:latin typeface="+mj-lt"/>
              <a:ea typeface="Montserrat"/>
              <a:cs typeface="Montserrat"/>
              <a:sym typeface="Montserrat"/>
            </a:endParaRPr>
          </a:p>
          <a:p>
            <a:pPr marL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chemeClr val="dk1"/>
                </a:solidFill>
                <a:latin typeface="+mj-lt"/>
                <a:ea typeface="Montserrat"/>
                <a:cs typeface="Montserrat"/>
                <a:sym typeface="Montserrat"/>
              </a:rPr>
              <a:t>0.24671+0.011631 =0.258341&gt;0.25126</a:t>
            </a:r>
            <a:endParaRPr>
              <a:solidFill>
                <a:schemeClr val="dk1"/>
              </a:solidFill>
              <a:latin typeface="+mj-lt"/>
              <a:ea typeface="Montserrat"/>
              <a:cs typeface="Montserrat"/>
              <a:sym typeface="Montserrat"/>
            </a:endParaRPr>
          </a:p>
          <a:p>
            <a:pPr marL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chemeClr val="dk1"/>
                </a:solidFill>
                <a:latin typeface="+mj-lt"/>
                <a:ea typeface="Montserrat"/>
                <a:cs typeface="Montserrat"/>
                <a:sym typeface="Montserrat"/>
              </a:rPr>
              <a:t>We can consider cp=0.010097  </a:t>
            </a:r>
            <a:endParaRPr>
              <a:solidFill>
                <a:schemeClr val="dk1"/>
              </a:solidFill>
              <a:latin typeface="+mj-lt"/>
              <a:ea typeface="Montserrat"/>
              <a:cs typeface="Montserrat"/>
              <a:sym typeface="Montserrat"/>
            </a:endParaRPr>
          </a:p>
          <a:p>
            <a:pPr marL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dk1"/>
              </a:solidFill>
              <a:latin typeface="+mj-lt"/>
              <a:ea typeface="Montserrat"/>
              <a:cs typeface="Montserrat"/>
              <a:sym typeface="Montserrat"/>
            </a:endParaRPr>
          </a:p>
          <a:p>
            <a:pPr marL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chemeClr val="dk1"/>
                </a:solidFill>
                <a:latin typeface="+mj-lt"/>
                <a:ea typeface="Montserrat"/>
                <a:cs typeface="Montserrat"/>
                <a:sym typeface="Montserrat"/>
              </a:rPr>
              <a:t>RMSE of 11.085917</a:t>
            </a:r>
            <a:endParaRPr>
              <a:solidFill>
                <a:schemeClr val="dk1"/>
              </a:solidFill>
              <a:latin typeface="+mj-lt"/>
              <a:ea typeface="Montserrat"/>
              <a:cs typeface="Montserrat"/>
              <a:sym typeface="Montserrat"/>
            </a:endParaRPr>
          </a:p>
        </p:txBody>
      </p:sp>
      <p:sp>
        <p:nvSpPr>
          <p:cNvPr id="686" name="Google Shape;686;p84"/>
          <p:cNvSpPr txBox="1"/>
          <p:nvPr/>
        </p:nvSpPr>
        <p:spPr>
          <a:xfrm>
            <a:off x="4071750" y="1285875"/>
            <a:ext cx="4715400" cy="2339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latin typeface="+mj-lt"/>
              </a:rPr>
              <a:t> CP            nsplit         rel error      xerror    	xstd</a:t>
            </a:r>
            <a:endParaRPr dirty="0">
              <a:latin typeface="+mj-lt"/>
            </a:endParaRPr>
          </a:p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latin typeface="+mj-lt"/>
              </a:rPr>
              <a:t>1  0.490422  	0   1.00000  1.00016  0.019982</a:t>
            </a:r>
            <a:endParaRPr dirty="0">
              <a:latin typeface="+mj-lt"/>
            </a:endParaRPr>
          </a:p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latin typeface="+mj-lt"/>
              </a:rPr>
              <a:t>2  0.113456  	1   0.50958  0.50988  0.013895</a:t>
            </a:r>
            <a:endParaRPr dirty="0">
              <a:latin typeface="+mj-lt"/>
            </a:endParaRPr>
          </a:p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latin typeface="+mj-lt"/>
              </a:rPr>
              <a:t>3  0.071939  	2   0.39612  0.39867  0.012596</a:t>
            </a:r>
            <a:endParaRPr dirty="0">
              <a:latin typeface="+mj-lt"/>
            </a:endParaRPr>
          </a:p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latin typeface="+mj-lt"/>
              </a:rPr>
              <a:t>4  0.032952  	3   0.32418  0.32681  0.013012</a:t>
            </a:r>
            <a:endParaRPr dirty="0">
              <a:latin typeface="+mj-lt"/>
            </a:endParaRPr>
          </a:p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latin typeface="+mj-lt"/>
              </a:rPr>
              <a:t>5  0.019342  	4   0.29123  0.29621  0.012623</a:t>
            </a:r>
            <a:endParaRPr dirty="0">
              <a:latin typeface="+mj-lt"/>
            </a:endParaRPr>
          </a:p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latin typeface="+mj-lt"/>
              </a:rPr>
              <a:t>6  0.014996  	5   0.27189  0.27716  0.011766</a:t>
            </a:r>
            <a:endParaRPr dirty="0">
              <a:latin typeface="+mj-lt"/>
            </a:endParaRPr>
          </a:p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latin typeface="+mj-lt"/>
              </a:rPr>
              <a:t>7  0.010799  	6   0.25689  0.26447  0.011554</a:t>
            </a:r>
            <a:endParaRPr dirty="0">
              <a:latin typeface="+mj-lt"/>
            </a:endParaRPr>
          </a:p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latin typeface="+mj-lt"/>
              </a:rPr>
              <a:t>8  0.010097  	7   0.24609  0.25126  0.011591</a:t>
            </a:r>
            <a:endParaRPr dirty="0">
              <a:latin typeface="+mj-lt"/>
            </a:endParaRPr>
          </a:p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latin typeface="+mj-lt"/>
              </a:rPr>
              <a:t>9  0.010000  	8   0.23600  0.24671  0.011631</a:t>
            </a:r>
            <a:endParaRPr dirty="0">
              <a:latin typeface="+mj-lt"/>
            </a:endParaRPr>
          </a:p>
        </p:txBody>
      </p:sp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1" name="Google Shape;691;p85"/>
          <p:cNvSpPr txBox="1">
            <a:spLocks noGrp="1"/>
          </p:cNvSpPr>
          <p:nvPr>
            <p:ph type="title"/>
          </p:nvPr>
        </p:nvSpPr>
        <p:spPr>
          <a:xfrm>
            <a:off x="2714550" y="546624"/>
            <a:ext cx="3714900" cy="515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600"/>
              <a:t>Tree 2.1</a:t>
            </a:r>
            <a:endParaRPr sz="2600"/>
          </a:p>
        </p:txBody>
      </p:sp>
      <p:pic>
        <p:nvPicPr>
          <p:cNvPr id="692" name="Google Shape;692;p85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619125" y="1062325"/>
            <a:ext cx="8024475" cy="37441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7" name="Google Shape;697;p86"/>
          <p:cNvSpPr txBox="1">
            <a:spLocks noGrp="1"/>
          </p:cNvSpPr>
          <p:nvPr>
            <p:ph type="title"/>
          </p:nvPr>
        </p:nvSpPr>
        <p:spPr>
          <a:xfrm>
            <a:off x="2714550" y="546624"/>
            <a:ext cx="3714900" cy="515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600" dirty="0">
                <a:latin typeface="+mj-lt"/>
              </a:rPr>
              <a:t>Comparing the Trees:</a:t>
            </a:r>
            <a:endParaRPr sz="2600" dirty="0">
              <a:latin typeface="+mj-lt"/>
            </a:endParaRPr>
          </a:p>
        </p:txBody>
      </p:sp>
      <p:pic>
        <p:nvPicPr>
          <p:cNvPr id="698" name="Google Shape;698;p86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03632" y="1618966"/>
            <a:ext cx="5018749" cy="1772425"/>
          </a:xfrm>
          <a:prstGeom prst="rect">
            <a:avLst/>
          </a:prstGeom>
          <a:noFill/>
          <a:ln>
            <a:noFill/>
          </a:ln>
        </p:spPr>
      </p:pic>
      <p:sp>
        <p:nvSpPr>
          <p:cNvPr id="699" name="Google Shape;699;p86"/>
          <p:cNvSpPr txBox="1"/>
          <p:nvPr/>
        </p:nvSpPr>
        <p:spPr>
          <a:xfrm>
            <a:off x="5309616" y="1237488"/>
            <a:ext cx="3572255" cy="34855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342900" marR="0" lvl="0" indent="-342900" algn="just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●"/>
            </a:pPr>
            <a:r>
              <a:rPr lang="en-US" sz="1100" u="none" strike="noStrike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Tree 2's cp is 0.01, higher than Tree 1 (0.0001), reducing the risk of overfitting and making it less complex. It has 17 nodes and 9 leaves, significantly fewer than Tree 1 (63 nodes, 32 leaves) and Tree 1.1 (61 nodes, 31 leaves), simplifying interpretation and analysis.</a:t>
            </a:r>
            <a:endParaRPr lang="en-US" sz="1100" u="none" strike="noStrike" dirty="0">
              <a:effectLst/>
              <a:latin typeface="Times New Roman" panose="02020603050405020304" pitchFamily="18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marL="342900" marR="0" lvl="0" indent="-342900" algn="just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●"/>
            </a:pPr>
            <a:r>
              <a:rPr lang="en-US" sz="1100" u="none" strike="noStrike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e RMSE of 10.80577 is slightly higher than Tree 1 (10.12551) and Tree 1.1 (10.574883), but still indicates good predictive accuracy.</a:t>
            </a:r>
            <a:endParaRPr lang="en-US" sz="1100" u="none" strike="noStrike" dirty="0">
              <a:effectLst/>
              <a:latin typeface="Times New Roman" panose="02020603050405020304" pitchFamily="18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marL="342900" marR="0" lvl="0" indent="-342900" algn="just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●"/>
            </a:pPr>
            <a:r>
              <a:rPr lang="en-US" sz="1100" u="none" strike="noStrike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Tree 2.1 has a higher RMSE (11.085917) and marginally fewer nodes and leaves, making Tree 2 preferable due to its better accuracy.</a:t>
            </a:r>
          </a:p>
          <a:p>
            <a:pPr marL="342900" marR="0" lvl="0" indent="-342900" algn="just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●"/>
            </a:pPr>
            <a:endParaRPr lang="en-US" sz="1100" u="none" strike="noStrike" dirty="0">
              <a:effectLst/>
              <a:latin typeface="Times New Roman" panose="02020603050405020304" pitchFamily="18" charset="0"/>
              <a:ea typeface="Arial" panose="020B0604020202020204" pitchFamily="34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4" name="Google Shape;704;p87"/>
          <p:cNvSpPr txBox="1">
            <a:spLocks noGrp="1"/>
          </p:cNvSpPr>
          <p:nvPr>
            <p:ph type="title"/>
          </p:nvPr>
        </p:nvSpPr>
        <p:spPr>
          <a:xfrm>
            <a:off x="2714550" y="2323722"/>
            <a:ext cx="3714900" cy="818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000">
                <a:latin typeface="+mj-lt"/>
              </a:rPr>
              <a:t>Conclusion &amp; Recommendations</a:t>
            </a:r>
            <a:endParaRPr sz="3000">
              <a:latin typeface="+mj-lt"/>
            </a:endParaRPr>
          </a:p>
        </p:txBody>
      </p:sp>
      <p:sp>
        <p:nvSpPr>
          <p:cNvPr id="705" name="Google Shape;705;p87"/>
          <p:cNvSpPr txBox="1">
            <a:spLocks noGrp="1"/>
          </p:cNvSpPr>
          <p:nvPr>
            <p:ph type="title" idx="2"/>
          </p:nvPr>
        </p:nvSpPr>
        <p:spPr>
          <a:xfrm>
            <a:off x="3963000" y="1265075"/>
            <a:ext cx="1296300" cy="978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latin typeface="+mj-lt"/>
              </a:rPr>
              <a:t>06</a:t>
            </a:r>
            <a:endParaRPr>
              <a:latin typeface="+mj-lt"/>
            </a:endParaRPr>
          </a:p>
        </p:txBody>
      </p:sp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oogle Shape;638;p77">
            <a:extLst>
              <a:ext uri="{FF2B5EF4-FFF2-40B4-BE49-F238E27FC236}">
                <a16:creationId xmlns:a16="http://schemas.microsoft.com/office/drawing/2014/main" id="{7AC44BF9-5DA7-4ED2-9476-7384B16881EE}"/>
              </a:ext>
            </a:extLst>
          </p:cNvPr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3363872" y="904239"/>
            <a:ext cx="5695096" cy="1911747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Google Shape;697;p86">
            <a:extLst>
              <a:ext uri="{FF2B5EF4-FFF2-40B4-BE49-F238E27FC236}">
                <a16:creationId xmlns:a16="http://schemas.microsoft.com/office/drawing/2014/main" id="{F2347510-120F-4A1B-87D9-C9983FE6579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80176" y="366551"/>
            <a:ext cx="3750044" cy="537687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600" dirty="0">
                <a:latin typeface="+mj-lt"/>
              </a:rPr>
              <a:t>Regression Models</a:t>
            </a:r>
            <a:endParaRPr sz="2600" dirty="0">
              <a:latin typeface="+mj-lt"/>
            </a:endParaRPr>
          </a:p>
        </p:txBody>
      </p:sp>
      <p:sp>
        <p:nvSpPr>
          <p:cNvPr id="7" name="Google Shape;697;p86">
            <a:extLst>
              <a:ext uri="{FF2B5EF4-FFF2-40B4-BE49-F238E27FC236}">
                <a16:creationId xmlns:a16="http://schemas.microsoft.com/office/drawing/2014/main" id="{E3D01AB7-313D-4371-83FE-382CF2CDC295}"/>
              </a:ext>
            </a:extLst>
          </p:cNvPr>
          <p:cNvSpPr txBox="1">
            <a:spLocks/>
          </p:cNvSpPr>
          <p:nvPr/>
        </p:nvSpPr>
        <p:spPr>
          <a:xfrm>
            <a:off x="0" y="1230903"/>
            <a:ext cx="3251200" cy="10558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600"/>
              <a:buFont typeface="Vidaloka"/>
              <a:buNone/>
              <a:defRPr sz="5000" b="0" i="0" u="none" strike="noStrike" cap="none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just"/>
            <a:r>
              <a:rPr lang="en-US" sz="12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.</a:t>
            </a:r>
            <a:r>
              <a:rPr lang="en-US" sz="1200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e negative coefficient for </a:t>
            </a:r>
            <a:r>
              <a:rPr lang="en-US" sz="1200" b="1" dirty="0" err="1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Unit.Price</a:t>
            </a:r>
            <a:r>
              <a:rPr lang="en-US" sz="1200" b="1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200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dicates that </a:t>
            </a:r>
            <a:r>
              <a:rPr lang="en-US" sz="1200" b="1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ice is a sensitive </a:t>
            </a:r>
            <a:r>
              <a:rPr lang="en-US" sz="1200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factor in sales quantity. </a:t>
            </a:r>
          </a:p>
          <a:p>
            <a:pPr algn="just"/>
            <a:r>
              <a:rPr lang="en-US" sz="1200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It is recommended to </a:t>
            </a:r>
            <a:r>
              <a:rPr lang="en-US" sz="1200" b="1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view the pricing strategy to find the optimal price points </a:t>
            </a:r>
            <a:r>
              <a:rPr lang="en-US" sz="1200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at can maximize sales without sacrificing profit margins too much.</a:t>
            </a:r>
            <a:endParaRPr lang="en-US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Google Shape;697;p86">
            <a:extLst>
              <a:ext uri="{FF2B5EF4-FFF2-40B4-BE49-F238E27FC236}">
                <a16:creationId xmlns:a16="http://schemas.microsoft.com/office/drawing/2014/main" id="{31D063F0-31D1-4FF4-A71B-7C606D2D0FC6}"/>
              </a:ext>
            </a:extLst>
          </p:cNvPr>
          <p:cNvSpPr txBox="1">
            <a:spLocks/>
          </p:cNvSpPr>
          <p:nvPr/>
        </p:nvSpPr>
        <p:spPr>
          <a:xfrm>
            <a:off x="112672" y="2915634"/>
            <a:ext cx="3251200" cy="15814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600"/>
              <a:buFont typeface="Vidaloka"/>
              <a:buNone/>
              <a:defRPr sz="5000" b="0" i="0" u="none" strike="noStrike" cap="none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just"/>
            <a:r>
              <a:rPr lang="en-US" sz="1200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2. The </a:t>
            </a:r>
            <a:r>
              <a:rPr lang="en-US" sz="1200" b="1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negative coefficients for larger sizes (65 and 75 inches) </a:t>
            </a:r>
            <a:r>
              <a:rPr lang="en-US" sz="1200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at are statistically significant imply that these models may </a:t>
            </a:r>
            <a:r>
              <a:rPr lang="en-US" sz="1200" b="1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be priced too high or not in high demand</a:t>
            </a:r>
            <a:r>
              <a:rPr lang="en-US" sz="1200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. </a:t>
            </a:r>
          </a:p>
          <a:p>
            <a:pPr algn="just"/>
            <a:r>
              <a:rPr lang="en-US" sz="1200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nsider </a:t>
            </a:r>
            <a:r>
              <a:rPr lang="en-US" sz="1200" b="1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either adjusting the price or focusing inventory on sizes </a:t>
            </a:r>
            <a:r>
              <a:rPr lang="en-US" sz="1200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at are more positively correlated with sales quantity.</a:t>
            </a:r>
            <a:endParaRPr lang="en-US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Google Shape;697;p86">
            <a:extLst>
              <a:ext uri="{FF2B5EF4-FFF2-40B4-BE49-F238E27FC236}">
                <a16:creationId xmlns:a16="http://schemas.microsoft.com/office/drawing/2014/main" id="{4FF0D31C-7530-4889-A5D0-3DF195F78E30}"/>
              </a:ext>
            </a:extLst>
          </p:cNvPr>
          <p:cNvSpPr txBox="1">
            <a:spLocks/>
          </p:cNvSpPr>
          <p:nvPr/>
        </p:nvSpPr>
        <p:spPr>
          <a:xfrm>
            <a:off x="4230220" y="2915634"/>
            <a:ext cx="3251200" cy="19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600"/>
              <a:buFont typeface="Vidaloka"/>
              <a:buNone/>
              <a:defRPr sz="5000" b="0" i="0" u="none" strike="noStrike" cap="none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just"/>
            <a:r>
              <a:rPr lang="en-US" sz="12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3. </a:t>
            </a:r>
            <a:r>
              <a:rPr lang="en-US" sz="1200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Significant positive coefficients for </a:t>
            </a:r>
            <a:r>
              <a:rPr lang="en-US" sz="1200" b="1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gions like Beirut and Mount Lebanon indicate higher sales quantities</a:t>
            </a:r>
            <a:r>
              <a:rPr lang="en-US" sz="1200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compared to the reference region (</a:t>
            </a:r>
            <a:r>
              <a:rPr lang="en-US" sz="1200" dirty="0" err="1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Bekaa</a:t>
            </a:r>
            <a:r>
              <a:rPr lang="en-US" sz="1200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). This suggests that these regions may have </a:t>
            </a:r>
            <a:r>
              <a:rPr lang="en-US" sz="1200" b="1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higher demand or more effective distribution strategies</a:t>
            </a:r>
            <a:r>
              <a:rPr lang="en-US" sz="1200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pPr algn="just"/>
            <a:r>
              <a:rPr lang="en-US" sz="1200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It would be beneficial to </a:t>
            </a:r>
            <a:r>
              <a:rPr lang="en-US" sz="1200" b="1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ncentrate marketing efforts and distribution resources in these areas </a:t>
            </a:r>
            <a:r>
              <a:rPr lang="en-US" sz="1200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or replicate the successful strategies from these regions in other areas.</a:t>
            </a:r>
            <a:endParaRPr lang="en-US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347080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oogle Shape;697;p86">
            <a:extLst>
              <a:ext uri="{FF2B5EF4-FFF2-40B4-BE49-F238E27FC236}">
                <a16:creationId xmlns:a16="http://schemas.microsoft.com/office/drawing/2014/main" id="{AB55918F-736D-4B9B-9B5B-43660B9400E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80176" y="366551"/>
            <a:ext cx="3750044" cy="537687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600" dirty="0">
                <a:latin typeface="+mj-lt"/>
              </a:rPr>
              <a:t>Regression Trees</a:t>
            </a:r>
            <a:endParaRPr sz="2600" dirty="0">
              <a:latin typeface="+mj-lt"/>
            </a:endParaRPr>
          </a:p>
        </p:txBody>
      </p:sp>
      <p:pic>
        <p:nvPicPr>
          <p:cNvPr id="6" name="Google Shape;679;p83">
            <a:extLst>
              <a:ext uri="{FF2B5EF4-FFF2-40B4-BE49-F238E27FC236}">
                <a16:creationId xmlns:a16="http://schemas.microsoft.com/office/drawing/2014/main" id="{8FA98C44-9DFE-4A63-9660-FBED6F46D0AE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3717560" y="689548"/>
            <a:ext cx="5129967" cy="1983032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Google Shape;697;p86">
            <a:extLst>
              <a:ext uri="{FF2B5EF4-FFF2-40B4-BE49-F238E27FC236}">
                <a16:creationId xmlns:a16="http://schemas.microsoft.com/office/drawing/2014/main" id="{3D128BBC-EEDB-4140-8BC8-5CC71737A909}"/>
              </a:ext>
            </a:extLst>
          </p:cNvPr>
          <p:cNvSpPr txBox="1">
            <a:spLocks/>
          </p:cNvSpPr>
          <p:nvPr/>
        </p:nvSpPr>
        <p:spPr>
          <a:xfrm>
            <a:off x="0" y="1230903"/>
            <a:ext cx="3056180" cy="16847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600"/>
              <a:buFont typeface="Vidaloka"/>
              <a:buNone/>
              <a:defRPr sz="5000" b="0" i="0" u="none" strike="noStrike" cap="none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just"/>
            <a:r>
              <a:rPr lang="en-US" sz="12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4.</a:t>
            </a:r>
            <a:r>
              <a:rPr lang="en-US" sz="1200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The tree shows a </a:t>
            </a:r>
            <a:r>
              <a:rPr lang="en-US" sz="1200" b="1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split at a unit price of 1238</a:t>
            </a:r>
            <a:r>
              <a:rPr lang="en-US" sz="1200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indicating that </a:t>
            </a:r>
            <a:r>
              <a:rPr lang="en-US" sz="1200" b="1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ice is a significant factor in sales volume</a:t>
            </a:r>
            <a:r>
              <a:rPr lang="en-US" sz="1200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. </a:t>
            </a:r>
          </a:p>
          <a:p>
            <a:pPr algn="just"/>
            <a:r>
              <a:rPr lang="en-US" sz="1200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e wholesaler should consider </a:t>
            </a:r>
            <a:r>
              <a:rPr lang="en-US" sz="1200" b="1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segmenting their inventory to ensure they have a variety of options above and below this price point </a:t>
            </a:r>
            <a:r>
              <a:rPr lang="en-US" sz="1200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to cater to different market segments.</a:t>
            </a:r>
            <a:endParaRPr lang="en-US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Google Shape;697;p86">
            <a:extLst>
              <a:ext uri="{FF2B5EF4-FFF2-40B4-BE49-F238E27FC236}">
                <a16:creationId xmlns:a16="http://schemas.microsoft.com/office/drawing/2014/main" id="{FAAD820B-24ED-4B1E-87BD-1D83F0BAF9B6}"/>
              </a:ext>
            </a:extLst>
          </p:cNvPr>
          <p:cNvSpPr txBox="1">
            <a:spLocks/>
          </p:cNvSpPr>
          <p:nvPr/>
        </p:nvSpPr>
        <p:spPr>
          <a:xfrm>
            <a:off x="0" y="3037554"/>
            <a:ext cx="3056180" cy="16318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600"/>
              <a:buFont typeface="Vidaloka"/>
              <a:buNone/>
              <a:defRPr sz="5000" b="0" i="0" u="none" strike="noStrike" cap="none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just"/>
            <a:r>
              <a:rPr lang="en-US" sz="12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5</a:t>
            </a:r>
            <a:r>
              <a:rPr lang="en-US" sz="1200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. The wholesaler should </a:t>
            </a:r>
            <a:r>
              <a:rPr lang="en-US" sz="1200" b="1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adjust their supply strategy based on regional preferences, as indicated by the splits on 'Casa</a:t>
            </a:r>
            <a:r>
              <a:rPr lang="en-US" sz="1200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'. Certain regions like </a:t>
            </a:r>
            <a:r>
              <a:rPr lang="en-US" sz="1200" b="1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'</a:t>
            </a:r>
            <a:r>
              <a:rPr lang="en-US" sz="1200" b="1" dirty="0" err="1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Bekaa</a:t>
            </a:r>
            <a:r>
              <a:rPr lang="en-US" sz="1200" b="1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' show different sales patterns compared to 'Beirut' and 'Mount Lebanon</a:t>
            </a:r>
            <a:r>
              <a:rPr lang="en-US" sz="1200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'. Inventory should </a:t>
            </a:r>
            <a:r>
              <a:rPr lang="en-US" sz="1200" b="1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be allocated and marketed differently in these regions </a:t>
            </a:r>
            <a:r>
              <a:rPr lang="en-US" sz="1200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to optimize sales.</a:t>
            </a:r>
            <a:endParaRPr lang="en-US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Google Shape;697;p86">
            <a:extLst>
              <a:ext uri="{FF2B5EF4-FFF2-40B4-BE49-F238E27FC236}">
                <a16:creationId xmlns:a16="http://schemas.microsoft.com/office/drawing/2014/main" id="{3BE20DCB-998B-4166-B0D6-BAE23C251118}"/>
              </a:ext>
            </a:extLst>
          </p:cNvPr>
          <p:cNvSpPr txBox="1">
            <a:spLocks/>
          </p:cNvSpPr>
          <p:nvPr/>
        </p:nvSpPr>
        <p:spPr>
          <a:xfrm>
            <a:off x="3011945" y="3039920"/>
            <a:ext cx="3056180" cy="14454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600"/>
              <a:buFont typeface="Vidaloka"/>
              <a:buNone/>
              <a:defRPr sz="5000" b="0" i="0" u="none" strike="noStrike" cap="none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just"/>
            <a:r>
              <a:rPr lang="en-US" sz="12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6. </a:t>
            </a:r>
            <a:r>
              <a:rPr lang="en-US" sz="1200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ere is a </a:t>
            </a:r>
            <a:r>
              <a:rPr lang="en-US" sz="1200" b="1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split for energy efficiency, with category 'A' being a decision node</a:t>
            </a:r>
            <a:r>
              <a:rPr lang="en-US" sz="1200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. The wholesaler should </a:t>
            </a:r>
            <a:r>
              <a:rPr lang="en-US" sz="1200" b="1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stock a higher proportion of 'A' energy efficiency-rated TVs, as there seems to be a distinct market for these models</a:t>
            </a:r>
            <a:r>
              <a:rPr lang="en-US" sz="1200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en-US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Google Shape;697;p86">
            <a:extLst>
              <a:ext uri="{FF2B5EF4-FFF2-40B4-BE49-F238E27FC236}">
                <a16:creationId xmlns:a16="http://schemas.microsoft.com/office/drawing/2014/main" id="{72A4A051-0F52-4CC9-A3FB-C33EC5C14690}"/>
              </a:ext>
            </a:extLst>
          </p:cNvPr>
          <p:cNvSpPr txBox="1">
            <a:spLocks/>
          </p:cNvSpPr>
          <p:nvPr/>
        </p:nvSpPr>
        <p:spPr>
          <a:xfrm>
            <a:off x="6036160" y="3037554"/>
            <a:ext cx="3043910" cy="8867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600"/>
              <a:buFont typeface="Vidaloka"/>
              <a:buNone/>
              <a:defRPr sz="5000" b="0" i="0" u="none" strike="noStrike" cap="none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just"/>
            <a:r>
              <a:rPr lang="en-US" sz="12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7. </a:t>
            </a:r>
            <a:r>
              <a:rPr lang="en-US" sz="1200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A </a:t>
            </a:r>
            <a:r>
              <a:rPr lang="en-US" sz="1200" b="1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split occurs where the number of connectivity options is greater than 3</a:t>
            </a:r>
            <a:r>
              <a:rPr lang="en-US" sz="1200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suggesting that </a:t>
            </a:r>
            <a:r>
              <a:rPr lang="en-US" sz="1200" b="1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TVs with more connectivity features are preferred</a:t>
            </a:r>
            <a:r>
              <a:rPr lang="en-US" sz="1200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. The wholesaler should </a:t>
            </a:r>
            <a:r>
              <a:rPr lang="en-US" sz="1200" b="1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ensure that their inventory is stocked with TVs that offer a higher number of connectivity options to meet this demand</a:t>
            </a:r>
            <a:r>
              <a:rPr lang="en-US" sz="1200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en-US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686465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Google Shape;697;p86">
            <a:extLst>
              <a:ext uri="{FF2B5EF4-FFF2-40B4-BE49-F238E27FC236}">
                <a16:creationId xmlns:a16="http://schemas.microsoft.com/office/drawing/2014/main" id="{2775F0DA-12EE-473A-8D9F-6EAF5DBB05B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80176" y="366551"/>
            <a:ext cx="3750044" cy="537687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600" dirty="0">
                <a:latin typeface="+mj-lt"/>
              </a:rPr>
              <a:t>References</a:t>
            </a:r>
            <a:endParaRPr sz="2600" dirty="0">
              <a:latin typeface="+mj-lt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8419BCE-B77D-481A-A840-7748F2D5EFD0}"/>
              </a:ext>
            </a:extLst>
          </p:cNvPr>
          <p:cNvSpPr txBox="1"/>
          <p:nvPr/>
        </p:nvSpPr>
        <p:spPr>
          <a:xfrm>
            <a:off x="246579" y="982231"/>
            <a:ext cx="8280201" cy="38779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dirty="0" err="1">
                <a:effectLst/>
                <a:latin typeface="+mj-lt"/>
                <a:ea typeface="Times New Roman" panose="02020603050405020304" pitchFamily="18" charset="0"/>
              </a:rPr>
              <a:t>Büttner</a:t>
            </a:r>
            <a:r>
              <a:rPr lang="en-US" sz="1200" dirty="0">
                <a:effectLst/>
                <a:latin typeface="+mj-lt"/>
                <a:ea typeface="Times New Roman" panose="02020603050405020304" pitchFamily="18" charset="0"/>
              </a:rPr>
              <a:t>, D., &amp; Rabe, M. (2021). Sales Forecasting in the Electrical Industry – An Illustrative Comparison of Time Series and Machine Learning Approaches. 2021 9th International Conference on Traffic and Logistic Engineering. </a:t>
            </a:r>
            <a:r>
              <a:rPr lang="en-US" sz="1200" u="sng" dirty="0">
                <a:solidFill>
                  <a:srgbClr val="1155CC"/>
                </a:solidFill>
                <a:effectLst/>
                <a:latin typeface="+mj-lt"/>
                <a:ea typeface="Times New Roman" panose="02020603050405020304" pitchFamily="18" charset="0"/>
                <a:hlinkClick r:id="rId2"/>
              </a:rPr>
              <a:t>https://ieeexplore.ieee.org/document/9525747</a:t>
            </a:r>
            <a:endParaRPr lang="en-US" sz="1200" dirty="0">
              <a:effectLst/>
              <a:latin typeface="+mj-lt"/>
              <a:ea typeface="Arial" panose="020B0604020202020204" pitchFamily="34" charset="0"/>
            </a:endParaRPr>
          </a:p>
          <a:p>
            <a:pPr marL="0" marR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effectLst/>
                <a:latin typeface="+mj-lt"/>
                <a:ea typeface="Times New Roman" panose="02020603050405020304" pitchFamily="18" charset="0"/>
              </a:rPr>
              <a:t> </a:t>
            </a:r>
            <a:endParaRPr lang="en-US" sz="1200" dirty="0">
              <a:effectLst/>
              <a:latin typeface="+mj-lt"/>
              <a:ea typeface="Arial" panose="020B0604020202020204" pitchFamily="34" charset="0"/>
            </a:endParaRPr>
          </a:p>
          <a:p>
            <a:pPr marL="0" marR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effectLst/>
                <a:latin typeface="+mj-lt"/>
                <a:ea typeface="Times New Roman" panose="02020603050405020304" pitchFamily="18" charset="0"/>
              </a:rPr>
              <a:t>Hwang, S., Yoon, G., </a:t>
            </a:r>
            <a:r>
              <a:rPr lang="en-US" sz="1200" dirty="0" err="1">
                <a:effectLst/>
                <a:latin typeface="+mj-lt"/>
                <a:ea typeface="Times New Roman" panose="02020603050405020304" pitchFamily="18" charset="0"/>
              </a:rPr>
              <a:t>Baek</a:t>
            </a:r>
            <a:r>
              <a:rPr lang="en-US" sz="1200" dirty="0">
                <a:effectLst/>
                <a:latin typeface="+mj-lt"/>
                <a:ea typeface="Times New Roman" panose="02020603050405020304" pitchFamily="18" charset="0"/>
              </a:rPr>
              <a:t>, E., &amp; Jeon, B.-K. (2023). A Sales Forecasting Model for New-Released and Short-Term Product: A Case Study of Mobile Phones. Electronics, 12(3256). </a:t>
            </a:r>
            <a:r>
              <a:rPr lang="en-US" sz="1200" u="sng" dirty="0">
                <a:solidFill>
                  <a:srgbClr val="1155CC"/>
                </a:solidFill>
                <a:effectLst/>
                <a:latin typeface="+mj-lt"/>
                <a:ea typeface="Times New Roman" panose="02020603050405020304" pitchFamily="18" charset="0"/>
                <a:hlinkClick r:id="rId3"/>
              </a:rPr>
              <a:t>https://www.mdpi.com/2079-9292/12/15/3256</a:t>
            </a:r>
            <a:endParaRPr lang="en-US" sz="1200" dirty="0">
              <a:effectLst/>
              <a:latin typeface="+mj-lt"/>
              <a:ea typeface="Arial" panose="020B0604020202020204" pitchFamily="34" charset="0"/>
            </a:endParaRPr>
          </a:p>
          <a:p>
            <a:pPr marL="0" marR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effectLst/>
                <a:latin typeface="+mj-lt"/>
                <a:ea typeface="Times New Roman" panose="02020603050405020304" pitchFamily="18" charset="0"/>
              </a:rPr>
              <a:t> </a:t>
            </a:r>
            <a:endParaRPr lang="en-US" sz="1200" dirty="0">
              <a:effectLst/>
              <a:latin typeface="+mj-lt"/>
              <a:ea typeface="Arial" panose="020B0604020202020204" pitchFamily="34" charset="0"/>
            </a:endParaRPr>
          </a:p>
          <a:p>
            <a:pPr marL="0" marR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effectLst/>
                <a:latin typeface="+mj-lt"/>
                <a:ea typeface="Times New Roman" panose="02020603050405020304" pitchFamily="18" charset="0"/>
              </a:rPr>
              <a:t>Sleiman, R., </a:t>
            </a:r>
            <a:r>
              <a:rPr lang="en-US" sz="1200" dirty="0" err="1">
                <a:effectLst/>
                <a:latin typeface="+mj-lt"/>
                <a:ea typeface="Times New Roman" panose="02020603050405020304" pitchFamily="18" charset="0"/>
              </a:rPr>
              <a:t>Mazyad</a:t>
            </a:r>
            <a:r>
              <a:rPr lang="en-US" sz="1200" dirty="0">
                <a:effectLst/>
                <a:latin typeface="+mj-lt"/>
                <a:ea typeface="Times New Roman" panose="02020603050405020304" pitchFamily="18" charset="0"/>
              </a:rPr>
              <a:t>, A., Hamad, M., Tran, K.-P., &amp; </a:t>
            </a:r>
            <a:r>
              <a:rPr lang="en-US" sz="1200" dirty="0" err="1">
                <a:effectLst/>
                <a:latin typeface="+mj-lt"/>
                <a:ea typeface="Times New Roman" panose="02020603050405020304" pitchFamily="18" charset="0"/>
              </a:rPr>
              <a:t>Thomassey</a:t>
            </a:r>
            <a:r>
              <a:rPr lang="en-US" sz="1200" dirty="0">
                <a:effectLst/>
                <a:latin typeface="+mj-lt"/>
                <a:ea typeface="Times New Roman" panose="02020603050405020304" pitchFamily="18" charset="0"/>
              </a:rPr>
              <a:t>, S. (2022). Forecasting Sales Profiles of Products in an Exceptional Context: COVID-19 Pandemic. International Journal of Computational Intelligence Systems, 15(99). </a:t>
            </a:r>
            <a:r>
              <a:rPr lang="en-US" sz="1200" u="sng" dirty="0">
                <a:solidFill>
                  <a:srgbClr val="1155CC"/>
                </a:solidFill>
                <a:effectLst/>
                <a:latin typeface="+mj-lt"/>
                <a:ea typeface="Times New Roman" panose="02020603050405020304" pitchFamily="18" charset="0"/>
                <a:hlinkClick r:id="rId4"/>
              </a:rPr>
              <a:t>https://link.springer.com/article/10.1007/s44196-022-00161-x</a:t>
            </a:r>
            <a:endParaRPr lang="en-US" sz="1200" dirty="0">
              <a:effectLst/>
              <a:latin typeface="+mj-lt"/>
              <a:ea typeface="Arial" panose="020B0604020202020204" pitchFamily="34" charset="0"/>
            </a:endParaRPr>
          </a:p>
          <a:p>
            <a:pPr marL="0" marR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effectLst/>
                <a:latin typeface="+mj-lt"/>
                <a:ea typeface="Times New Roman" panose="02020603050405020304" pitchFamily="18" charset="0"/>
              </a:rPr>
              <a:t> </a:t>
            </a:r>
            <a:endParaRPr lang="en-US" sz="1200" dirty="0">
              <a:effectLst/>
              <a:latin typeface="+mj-lt"/>
              <a:ea typeface="Arial" panose="020B0604020202020204" pitchFamily="34" charset="0"/>
            </a:endParaRPr>
          </a:p>
          <a:p>
            <a:pPr marL="0" marR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effectLst/>
                <a:latin typeface="+mj-lt"/>
                <a:ea typeface="Times New Roman" panose="02020603050405020304" pitchFamily="18" charset="0"/>
              </a:rPr>
              <a:t>Xu, Q., &amp; Sharma, V. (2017). Ensemble Sales Forecasting Study in Semiconductor Industry. Springer International Publishing. </a:t>
            </a:r>
            <a:r>
              <a:rPr lang="en-US" sz="1200" u="sng" dirty="0">
                <a:solidFill>
                  <a:srgbClr val="1155CC"/>
                </a:solidFill>
                <a:effectLst/>
                <a:latin typeface="+mj-lt"/>
                <a:ea typeface="Times New Roman" panose="02020603050405020304" pitchFamily="18" charset="0"/>
                <a:hlinkClick r:id="rId5"/>
              </a:rPr>
              <a:t>https://link.springer.com/content/pdf/10.1007/978-3-319-62701-4_3.pdf</a:t>
            </a:r>
            <a:endParaRPr lang="en-US" sz="1200" dirty="0">
              <a:effectLst/>
              <a:latin typeface="+mj-lt"/>
              <a:ea typeface="Arial" panose="020B0604020202020204" pitchFamily="34" charset="0"/>
            </a:endParaRPr>
          </a:p>
          <a:p>
            <a:endParaRPr lang="en-US" sz="12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92845158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2" name="Google Shape;722;p89"/>
          <p:cNvSpPr txBox="1">
            <a:spLocks noGrp="1"/>
          </p:cNvSpPr>
          <p:nvPr>
            <p:ph type="title"/>
          </p:nvPr>
        </p:nvSpPr>
        <p:spPr>
          <a:xfrm>
            <a:off x="1994850" y="1093650"/>
            <a:ext cx="5154300" cy="1291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latin typeface="+mj-lt"/>
              </a:rPr>
              <a:t>Thank You</a:t>
            </a:r>
            <a:endParaRPr>
              <a:latin typeface="+mj-lt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1" name="Google Shape;511;p58"/>
          <p:cNvSpPr txBox="1">
            <a:spLocks noGrp="1"/>
          </p:cNvSpPr>
          <p:nvPr>
            <p:ph type="title"/>
          </p:nvPr>
        </p:nvSpPr>
        <p:spPr>
          <a:xfrm>
            <a:off x="2714550" y="2323722"/>
            <a:ext cx="3714900" cy="818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000">
                <a:latin typeface="+mj-lt"/>
              </a:rPr>
              <a:t>Problem Description</a:t>
            </a:r>
            <a:endParaRPr sz="3000">
              <a:latin typeface="+mj-lt"/>
            </a:endParaRPr>
          </a:p>
        </p:txBody>
      </p:sp>
      <p:sp>
        <p:nvSpPr>
          <p:cNvPr id="512" name="Google Shape;512;p58"/>
          <p:cNvSpPr txBox="1">
            <a:spLocks noGrp="1"/>
          </p:cNvSpPr>
          <p:nvPr>
            <p:ph type="title" idx="2"/>
          </p:nvPr>
        </p:nvSpPr>
        <p:spPr>
          <a:xfrm>
            <a:off x="3963000" y="1265075"/>
            <a:ext cx="1218000" cy="978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latin typeface="+mj-lt"/>
              </a:rPr>
              <a:t>02</a:t>
            </a:r>
            <a:endParaRPr>
              <a:latin typeface="+mj-lt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47A525-369E-4CD0-AC8E-24627A2E2F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b="1" i="0" dirty="0">
                <a:effectLst/>
                <a:latin typeface="+mj-lt"/>
              </a:rPr>
              <a:t>Key Challenges in Inventory Forecasting for TV Wholesalers</a:t>
            </a:r>
            <a:endParaRPr lang="en-US" dirty="0">
              <a:latin typeface="+mj-lt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17EC641-49BE-4ED6-9D12-A45261CE16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81585" y="4767272"/>
            <a:ext cx="319515" cy="273844"/>
          </a:xfrm>
        </p:spPr>
        <p:txBody>
          <a:bodyPr/>
          <a:lstStyle/>
          <a:p>
            <a:fld id="{02B31C37-1934-4B1F-BCFB-9C805F677F6A}" type="slidenum">
              <a:rPr lang="en-US" sz="675">
                <a:latin typeface="+mj-lt"/>
              </a:rPr>
              <a:pPr/>
              <a:t>5</a:t>
            </a:fld>
            <a:endParaRPr lang="en-US" sz="675" dirty="0">
              <a:latin typeface="+mj-lt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65A62AB1-8047-4CF5-A338-555AA196C9B7}"/>
              </a:ext>
            </a:extLst>
          </p:cNvPr>
          <p:cNvGrpSpPr/>
          <p:nvPr/>
        </p:nvGrpSpPr>
        <p:grpSpPr>
          <a:xfrm>
            <a:off x="60993" y="742356"/>
            <a:ext cx="8740107" cy="4024921"/>
            <a:chOff x="60993" y="742356"/>
            <a:chExt cx="8740107" cy="4024921"/>
          </a:xfrm>
        </p:grpSpPr>
        <p:sp>
          <p:nvSpPr>
            <p:cNvPr id="124" name="Parallelogram 123">
              <a:extLst>
                <a:ext uri="{FF2B5EF4-FFF2-40B4-BE49-F238E27FC236}">
                  <a16:creationId xmlns:a16="http://schemas.microsoft.com/office/drawing/2014/main" id="{40B2E695-B674-433B-B3F7-77AE99325C8C}"/>
                </a:ext>
              </a:extLst>
            </p:cNvPr>
            <p:cNvSpPr/>
            <p:nvPr/>
          </p:nvSpPr>
          <p:spPr>
            <a:xfrm flipH="1">
              <a:off x="3383761" y="4057413"/>
              <a:ext cx="1203245" cy="298147"/>
            </a:xfrm>
            <a:prstGeom prst="parallelogram">
              <a:avLst>
                <a:gd name="adj" fmla="val 82205"/>
              </a:avLst>
            </a:prstGeom>
            <a:solidFill>
              <a:srgbClr val="84C6D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>
                <a:latin typeface="+mj-lt"/>
              </a:endParaRPr>
            </a:p>
          </p:txBody>
        </p:sp>
        <p:sp>
          <p:nvSpPr>
            <p:cNvPr id="125" name="Parallelogram 124">
              <a:extLst>
                <a:ext uri="{FF2B5EF4-FFF2-40B4-BE49-F238E27FC236}">
                  <a16:creationId xmlns:a16="http://schemas.microsoft.com/office/drawing/2014/main" id="{9A549664-AC0B-4195-B8FD-07FB82F90489}"/>
                </a:ext>
              </a:extLst>
            </p:cNvPr>
            <p:cNvSpPr/>
            <p:nvPr/>
          </p:nvSpPr>
          <p:spPr>
            <a:xfrm rot="16200000" flipH="1" flipV="1">
              <a:off x="3145802" y="4295374"/>
              <a:ext cx="709858" cy="233939"/>
            </a:xfrm>
            <a:prstGeom prst="parallelogram">
              <a:avLst>
                <a:gd name="adj" fmla="val 122662"/>
              </a:avLst>
            </a:prstGeom>
            <a:solidFill>
              <a:srgbClr val="B7DEE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126" name="Parallelogram 125">
              <a:extLst>
                <a:ext uri="{FF2B5EF4-FFF2-40B4-BE49-F238E27FC236}">
                  <a16:creationId xmlns:a16="http://schemas.microsoft.com/office/drawing/2014/main" id="{8BD40CB9-6C8B-4416-B50A-FFA86860A06B}"/>
                </a:ext>
              </a:extLst>
            </p:cNvPr>
            <p:cNvSpPr/>
            <p:nvPr/>
          </p:nvSpPr>
          <p:spPr>
            <a:xfrm flipH="1">
              <a:off x="2417689" y="4469125"/>
              <a:ext cx="1203245" cy="298147"/>
            </a:xfrm>
            <a:prstGeom prst="parallelogram">
              <a:avLst>
                <a:gd name="adj" fmla="val 82205"/>
              </a:avLst>
            </a:prstGeom>
            <a:solidFill>
              <a:srgbClr val="D1EEF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>
                <a:latin typeface="+mj-lt"/>
              </a:endParaRPr>
            </a:p>
          </p:txBody>
        </p:sp>
        <p:sp>
          <p:nvSpPr>
            <p:cNvPr id="127" name="Rectangle 126">
              <a:extLst>
                <a:ext uri="{FF2B5EF4-FFF2-40B4-BE49-F238E27FC236}">
                  <a16:creationId xmlns:a16="http://schemas.microsoft.com/office/drawing/2014/main" id="{D7C2CD2B-5B10-48C9-926C-634BCEF40A8A}"/>
                </a:ext>
              </a:extLst>
            </p:cNvPr>
            <p:cNvSpPr/>
            <p:nvPr/>
          </p:nvSpPr>
          <p:spPr>
            <a:xfrm>
              <a:off x="342899" y="4469836"/>
              <a:ext cx="2780493" cy="297436"/>
            </a:xfrm>
            <a:prstGeom prst="rect">
              <a:avLst/>
            </a:prstGeom>
            <a:solidFill>
              <a:srgbClr val="D1EEF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>
                <a:latin typeface="+mj-lt"/>
              </a:endParaRPr>
            </a:p>
          </p:txBody>
        </p:sp>
        <p:sp>
          <p:nvSpPr>
            <p:cNvPr id="128" name="Parallelogram 127">
              <a:extLst>
                <a:ext uri="{FF2B5EF4-FFF2-40B4-BE49-F238E27FC236}">
                  <a16:creationId xmlns:a16="http://schemas.microsoft.com/office/drawing/2014/main" id="{4D7E78DD-3D88-4C2B-8283-74A08D16DE06}"/>
                </a:ext>
              </a:extLst>
            </p:cNvPr>
            <p:cNvSpPr/>
            <p:nvPr/>
          </p:nvSpPr>
          <p:spPr>
            <a:xfrm flipH="1">
              <a:off x="4331898" y="3643641"/>
              <a:ext cx="1203245" cy="298147"/>
            </a:xfrm>
            <a:prstGeom prst="parallelogram">
              <a:avLst>
                <a:gd name="adj" fmla="val 82205"/>
              </a:avLst>
            </a:prstGeom>
            <a:solidFill>
              <a:srgbClr val="73BE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50">
                <a:latin typeface="+mj-lt"/>
              </a:endParaRPr>
            </a:p>
          </p:txBody>
        </p:sp>
        <p:sp>
          <p:nvSpPr>
            <p:cNvPr id="129" name="Parallelogram 128">
              <a:extLst>
                <a:ext uri="{FF2B5EF4-FFF2-40B4-BE49-F238E27FC236}">
                  <a16:creationId xmlns:a16="http://schemas.microsoft.com/office/drawing/2014/main" id="{BB0DD60B-7D0D-4DE5-8D81-D624D3EAF179}"/>
                </a:ext>
              </a:extLst>
            </p:cNvPr>
            <p:cNvSpPr/>
            <p:nvPr/>
          </p:nvSpPr>
          <p:spPr>
            <a:xfrm rot="16200000" flipH="1" flipV="1">
              <a:off x="4093938" y="3881602"/>
              <a:ext cx="709858" cy="233939"/>
            </a:xfrm>
            <a:prstGeom prst="parallelogram">
              <a:avLst>
                <a:gd name="adj" fmla="val 122662"/>
              </a:avLst>
            </a:prstGeom>
            <a:solidFill>
              <a:srgbClr val="93CDD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50">
                <a:latin typeface="+mj-lt"/>
              </a:endParaRPr>
            </a:p>
          </p:txBody>
        </p:sp>
        <p:sp>
          <p:nvSpPr>
            <p:cNvPr id="130" name="Parallelogram 129">
              <a:extLst>
                <a:ext uri="{FF2B5EF4-FFF2-40B4-BE49-F238E27FC236}">
                  <a16:creationId xmlns:a16="http://schemas.microsoft.com/office/drawing/2014/main" id="{1F168C0E-768A-4D3A-B012-3AFD00FD199B}"/>
                </a:ext>
              </a:extLst>
            </p:cNvPr>
            <p:cNvSpPr/>
            <p:nvPr/>
          </p:nvSpPr>
          <p:spPr>
            <a:xfrm flipH="1">
              <a:off x="5297368" y="3231290"/>
              <a:ext cx="1203245" cy="298147"/>
            </a:xfrm>
            <a:prstGeom prst="parallelogram">
              <a:avLst>
                <a:gd name="adj" fmla="val 82205"/>
              </a:avLst>
            </a:prstGeom>
            <a:solidFill>
              <a:srgbClr val="27697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50">
                <a:latin typeface="+mj-lt"/>
              </a:endParaRPr>
            </a:p>
          </p:txBody>
        </p:sp>
        <p:sp>
          <p:nvSpPr>
            <p:cNvPr id="131" name="Parallelogram 130">
              <a:extLst>
                <a:ext uri="{FF2B5EF4-FFF2-40B4-BE49-F238E27FC236}">
                  <a16:creationId xmlns:a16="http://schemas.microsoft.com/office/drawing/2014/main" id="{8E5BD224-45E4-4FE7-8A06-1732BC20B080}"/>
                </a:ext>
              </a:extLst>
            </p:cNvPr>
            <p:cNvSpPr/>
            <p:nvPr/>
          </p:nvSpPr>
          <p:spPr>
            <a:xfrm rot="16200000" flipH="1" flipV="1">
              <a:off x="5059407" y="3469250"/>
              <a:ext cx="709858" cy="233939"/>
            </a:xfrm>
            <a:prstGeom prst="parallelogram">
              <a:avLst>
                <a:gd name="adj" fmla="val 122662"/>
              </a:avLst>
            </a:prstGeom>
            <a:solidFill>
              <a:srgbClr val="3185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50">
                <a:latin typeface="+mj-lt"/>
              </a:endParaRPr>
            </a:p>
          </p:txBody>
        </p:sp>
        <p:sp>
          <p:nvSpPr>
            <p:cNvPr id="132" name="Parallelogram 131">
              <a:extLst>
                <a:ext uri="{FF2B5EF4-FFF2-40B4-BE49-F238E27FC236}">
                  <a16:creationId xmlns:a16="http://schemas.microsoft.com/office/drawing/2014/main" id="{6F6D3C2A-941F-4AEE-85F1-D764ED25151D}"/>
                </a:ext>
              </a:extLst>
            </p:cNvPr>
            <p:cNvSpPr/>
            <p:nvPr/>
          </p:nvSpPr>
          <p:spPr>
            <a:xfrm flipH="1">
              <a:off x="6252963" y="2818991"/>
              <a:ext cx="1203245" cy="298147"/>
            </a:xfrm>
            <a:prstGeom prst="parallelogram">
              <a:avLst>
                <a:gd name="adj" fmla="val 82205"/>
              </a:avLst>
            </a:prstGeom>
            <a:solidFill>
              <a:srgbClr val="163C4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50">
                <a:latin typeface="+mj-lt"/>
              </a:endParaRPr>
            </a:p>
          </p:txBody>
        </p:sp>
        <p:sp>
          <p:nvSpPr>
            <p:cNvPr id="133" name="Parallelogram 132">
              <a:extLst>
                <a:ext uri="{FF2B5EF4-FFF2-40B4-BE49-F238E27FC236}">
                  <a16:creationId xmlns:a16="http://schemas.microsoft.com/office/drawing/2014/main" id="{7979AF96-2701-4CF2-8040-3036E50D54CE}"/>
                </a:ext>
              </a:extLst>
            </p:cNvPr>
            <p:cNvSpPr/>
            <p:nvPr/>
          </p:nvSpPr>
          <p:spPr>
            <a:xfrm rot="16200000" flipH="1" flipV="1">
              <a:off x="6015006" y="3056951"/>
              <a:ext cx="709858" cy="233939"/>
            </a:xfrm>
            <a:prstGeom prst="parallelogram">
              <a:avLst>
                <a:gd name="adj" fmla="val 122662"/>
              </a:avLst>
            </a:prstGeom>
            <a:solidFill>
              <a:srgbClr val="21596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50">
                <a:latin typeface="+mj-lt"/>
              </a:endParaRPr>
            </a:p>
          </p:txBody>
        </p:sp>
        <p:sp>
          <p:nvSpPr>
            <p:cNvPr id="134" name="Parallelogram 133">
              <a:extLst>
                <a:ext uri="{FF2B5EF4-FFF2-40B4-BE49-F238E27FC236}">
                  <a16:creationId xmlns:a16="http://schemas.microsoft.com/office/drawing/2014/main" id="{B73FBEF0-879D-4174-93A0-FFC8BBA9E98F}"/>
                </a:ext>
              </a:extLst>
            </p:cNvPr>
            <p:cNvSpPr/>
            <p:nvPr/>
          </p:nvSpPr>
          <p:spPr>
            <a:xfrm flipH="1">
              <a:off x="7209655" y="2421376"/>
              <a:ext cx="1203245" cy="298147"/>
            </a:xfrm>
            <a:prstGeom prst="parallelogram">
              <a:avLst>
                <a:gd name="adj" fmla="val 82205"/>
              </a:avLst>
            </a:prstGeom>
            <a:solidFill>
              <a:srgbClr val="153943"/>
            </a:solidFill>
            <a:ln w="254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 latinLnBrk="1">
                <a:buClrTx/>
                <a:defRPr/>
              </a:pPr>
              <a:endParaRPr lang="ko-KR" altLang="en-US" sz="1350">
                <a:solidFill>
                  <a:prstClr val="white"/>
                </a:solidFill>
                <a:latin typeface="+mj-lt"/>
                <a:ea typeface="Arial Unicode MS"/>
                <a:cs typeface="+mn-cs"/>
              </a:endParaRPr>
            </a:p>
          </p:txBody>
        </p:sp>
        <p:sp>
          <p:nvSpPr>
            <p:cNvPr id="135" name="Parallelogram 134">
              <a:extLst>
                <a:ext uri="{FF2B5EF4-FFF2-40B4-BE49-F238E27FC236}">
                  <a16:creationId xmlns:a16="http://schemas.microsoft.com/office/drawing/2014/main" id="{1441F207-0CAB-4D1F-A061-23F920274260}"/>
                </a:ext>
              </a:extLst>
            </p:cNvPr>
            <p:cNvSpPr/>
            <p:nvPr/>
          </p:nvSpPr>
          <p:spPr>
            <a:xfrm rot="16200000" flipH="1" flipV="1">
              <a:off x="6982619" y="2648414"/>
              <a:ext cx="688011" cy="233939"/>
            </a:xfrm>
            <a:prstGeom prst="parallelogram">
              <a:avLst>
                <a:gd name="adj" fmla="val 122662"/>
              </a:avLst>
            </a:prstGeom>
            <a:solidFill>
              <a:srgbClr val="13343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50">
                <a:latin typeface="+mj-lt"/>
              </a:endParaRPr>
            </a:p>
          </p:txBody>
        </p:sp>
        <p:sp>
          <p:nvSpPr>
            <p:cNvPr id="136" name="Rectangle 135">
              <a:extLst>
                <a:ext uri="{FF2B5EF4-FFF2-40B4-BE49-F238E27FC236}">
                  <a16:creationId xmlns:a16="http://schemas.microsoft.com/office/drawing/2014/main" id="{145B159E-4BD1-4106-9D95-FCFBE7F0B05F}"/>
                </a:ext>
              </a:extLst>
            </p:cNvPr>
            <p:cNvSpPr/>
            <p:nvPr/>
          </p:nvSpPr>
          <p:spPr>
            <a:xfrm>
              <a:off x="8032831" y="2422087"/>
              <a:ext cx="768269" cy="297436"/>
            </a:xfrm>
            <a:prstGeom prst="rect">
              <a:avLst/>
            </a:prstGeom>
            <a:solidFill>
              <a:srgbClr val="153943"/>
            </a:solidFill>
            <a:ln w="254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 latinLnBrk="1">
                <a:buClrTx/>
                <a:defRPr/>
              </a:pPr>
              <a:endParaRPr lang="ko-KR" altLang="en-US" sz="1350">
                <a:solidFill>
                  <a:prstClr val="white"/>
                </a:solidFill>
                <a:latin typeface="+mj-lt"/>
                <a:ea typeface="Arial Unicode MS"/>
                <a:cs typeface="+mn-cs"/>
              </a:endParaRPr>
            </a:p>
          </p:txBody>
        </p:sp>
        <p:sp>
          <p:nvSpPr>
            <p:cNvPr id="137" name="Parallelogram 136">
              <a:extLst>
                <a:ext uri="{FF2B5EF4-FFF2-40B4-BE49-F238E27FC236}">
                  <a16:creationId xmlns:a16="http://schemas.microsoft.com/office/drawing/2014/main" id="{2746B630-B0EE-4D39-9F8E-2633395A921D}"/>
                </a:ext>
              </a:extLst>
            </p:cNvPr>
            <p:cNvSpPr/>
            <p:nvPr/>
          </p:nvSpPr>
          <p:spPr>
            <a:xfrm flipH="1">
              <a:off x="3851705" y="4156357"/>
              <a:ext cx="267358" cy="100259"/>
            </a:xfrm>
            <a:prstGeom prst="parallelogram">
              <a:avLst>
                <a:gd name="adj" fmla="val 82205"/>
              </a:avLst>
            </a:prstGeom>
            <a:solidFill>
              <a:schemeClr val="tx1">
                <a:lumMod val="50000"/>
                <a:lumOff val="50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 latinLnBrk="1">
                <a:buClrTx/>
                <a:defRPr/>
              </a:pPr>
              <a:endParaRPr lang="ko-KR" altLang="en-US" sz="1350">
                <a:solidFill>
                  <a:prstClr val="white"/>
                </a:solidFill>
                <a:latin typeface="+mj-lt"/>
                <a:ea typeface="Arial Unicode MS"/>
                <a:cs typeface="+mn-cs"/>
              </a:endParaRPr>
            </a:p>
          </p:txBody>
        </p:sp>
        <p:sp>
          <p:nvSpPr>
            <p:cNvPr id="138" name="Parallelogram 137">
              <a:extLst>
                <a:ext uri="{FF2B5EF4-FFF2-40B4-BE49-F238E27FC236}">
                  <a16:creationId xmlns:a16="http://schemas.microsoft.com/office/drawing/2014/main" id="{D9E03F68-42F3-49F0-95AD-1F7108C39599}"/>
                </a:ext>
              </a:extLst>
            </p:cNvPr>
            <p:cNvSpPr/>
            <p:nvPr/>
          </p:nvSpPr>
          <p:spPr>
            <a:xfrm flipH="1">
              <a:off x="4799841" y="3742585"/>
              <a:ext cx="267358" cy="100259"/>
            </a:xfrm>
            <a:prstGeom prst="parallelogram">
              <a:avLst>
                <a:gd name="adj" fmla="val 82205"/>
              </a:avLst>
            </a:prstGeom>
            <a:solidFill>
              <a:schemeClr val="bg1">
                <a:lumMod val="50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 latinLnBrk="1">
                <a:buClrTx/>
                <a:defRPr/>
              </a:pPr>
              <a:endParaRPr lang="ko-KR" altLang="en-US" sz="1350">
                <a:solidFill>
                  <a:prstClr val="white"/>
                </a:solidFill>
                <a:latin typeface="+mj-lt"/>
                <a:ea typeface="Arial Unicode MS"/>
                <a:cs typeface="+mn-cs"/>
              </a:endParaRPr>
            </a:p>
          </p:txBody>
        </p:sp>
        <p:sp>
          <p:nvSpPr>
            <p:cNvPr id="139" name="Parallelogram 138">
              <a:extLst>
                <a:ext uri="{FF2B5EF4-FFF2-40B4-BE49-F238E27FC236}">
                  <a16:creationId xmlns:a16="http://schemas.microsoft.com/office/drawing/2014/main" id="{8E02C5CA-0D84-4E57-98F8-E9D892A6FE49}"/>
                </a:ext>
              </a:extLst>
            </p:cNvPr>
            <p:cNvSpPr/>
            <p:nvPr/>
          </p:nvSpPr>
          <p:spPr>
            <a:xfrm flipH="1">
              <a:off x="5747977" y="3328813"/>
              <a:ext cx="267358" cy="100259"/>
            </a:xfrm>
            <a:prstGeom prst="parallelogram">
              <a:avLst>
                <a:gd name="adj" fmla="val 82205"/>
              </a:avLst>
            </a:prstGeom>
            <a:solidFill>
              <a:schemeClr val="bg1">
                <a:lumMod val="6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 latinLnBrk="1">
                <a:buClrTx/>
                <a:defRPr/>
              </a:pPr>
              <a:endParaRPr lang="ko-KR" altLang="en-US" sz="1350">
                <a:solidFill>
                  <a:prstClr val="white"/>
                </a:solidFill>
                <a:latin typeface="+mj-lt"/>
                <a:ea typeface="Arial Unicode MS"/>
                <a:cs typeface="+mn-cs"/>
              </a:endParaRPr>
            </a:p>
          </p:txBody>
        </p:sp>
        <p:sp>
          <p:nvSpPr>
            <p:cNvPr id="140" name="Parallelogram 139">
              <a:extLst>
                <a:ext uri="{FF2B5EF4-FFF2-40B4-BE49-F238E27FC236}">
                  <a16:creationId xmlns:a16="http://schemas.microsoft.com/office/drawing/2014/main" id="{2E60694F-EB5B-455F-B143-0285012DE66A}"/>
                </a:ext>
              </a:extLst>
            </p:cNvPr>
            <p:cNvSpPr/>
            <p:nvPr/>
          </p:nvSpPr>
          <p:spPr>
            <a:xfrm flipH="1">
              <a:off x="6720910" y="2917935"/>
              <a:ext cx="267358" cy="100259"/>
            </a:xfrm>
            <a:prstGeom prst="parallelogram">
              <a:avLst>
                <a:gd name="adj" fmla="val 82205"/>
              </a:avLst>
            </a:prstGeom>
            <a:solidFill>
              <a:schemeClr val="bg1">
                <a:lumMod val="7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 latinLnBrk="1">
                <a:buClrTx/>
                <a:defRPr/>
              </a:pPr>
              <a:endParaRPr lang="ko-KR" altLang="en-US" sz="1350">
                <a:solidFill>
                  <a:prstClr val="white"/>
                </a:solidFill>
                <a:latin typeface="+mj-lt"/>
                <a:ea typeface="Arial Unicode MS"/>
                <a:cs typeface="+mn-cs"/>
              </a:endParaRPr>
            </a:p>
          </p:txBody>
        </p:sp>
        <p:sp>
          <p:nvSpPr>
            <p:cNvPr id="141" name="Parallelogram 140">
              <a:extLst>
                <a:ext uri="{FF2B5EF4-FFF2-40B4-BE49-F238E27FC236}">
                  <a16:creationId xmlns:a16="http://schemas.microsoft.com/office/drawing/2014/main" id="{E8F9FBD9-42D4-4145-83C1-6CA2B3473C4D}"/>
                </a:ext>
              </a:extLst>
            </p:cNvPr>
            <p:cNvSpPr/>
            <p:nvPr/>
          </p:nvSpPr>
          <p:spPr>
            <a:xfrm flipH="1">
              <a:off x="7644249" y="2493519"/>
              <a:ext cx="267358" cy="100259"/>
            </a:xfrm>
            <a:prstGeom prst="parallelogram">
              <a:avLst>
                <a:gd name="adj" fmla="val 82205"/>
              </a:avLst>
            </a:prstGeom>
            <a:solidFill>
              <a:schemeClr val="bg1">
                <a:lumMod val="8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 latinLnBrk="1">
                <a:buClrTx/>
                <a:defRPr/>
              </a:pPr>
              <a:endParaRPr lang="ko-KR" altLang="en-US" sz="1350">
                <a:solidFill>
                  <a:prstClr val="white"/>
                </a:solidFill>
                <a:latin typeface="+mj-lt"/>
                <a:ea typeface="Arial Unicode MS"/>
                <a:cs typeface="+mn-cs"/>
              </a:endParaRPr>
            </a:p>
          </p:txBody>
        </p:sp>
        <p:sp>
          <p:nvSpPr>
            <p:cNvPr id="142" name="Oval 141">
              <a:extLst>
                <a:ext uri="{FF2B5EF4-FFF2-40B4-BE49-F238E27FC236}">
                  <a16:creationId xmlns:a16="http://schemas.microsoft.com/office/drawing/2014/main" id="{71AB7215-2F50-4771-B752-F50454A98B2A}"/>
                </a:ext>
              </a:extLst>
            </p:cNvPr>
            <p:cNvSpPr/>
            <p:nvPr/>
          </p:nvSpPr>
          <p:spPr>
            <a:xfrm>
              <a:off x="3617700" y="2866036"/>
              <a:ext cx="735302" cy="735302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25400" cap="flat" cmpd="sng" algn="ctr">
              <a:solidFill>
                <a:schemeClr val="bg1">
                  <a:lumMod val="95000"/>
                </a:schemeClr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 latinLnBrk="1">
                <a:buClrTx/>
                <a:defRPr/>
              </a:pPr>
              <a:endParaRPr lang="ko-KR" altLang="en-US" sz="1350">
                <a:solidFill>
                  <a:prstClr val="white"/>
                </a:solidFill>
                <a:latin typeface="+mj-lt"/>
                <a:ea typeface="Arial Unicode MS"/>
                <a:cs typeface="+mn-cs"/>
              </a:endParaRPr>
            </a:p>
          </p:txBody>
        </p:sp>
        <p:sp>
          <p:nvSpPr>
            <p:cNvPr id="143" name="Oval 142">
              <a:extLst>
                <a:ext uri="{FF2B5EF4-FFF2-40B4-BE49-F238E27FC236}">
                  <a16:creationId xmlns:a16="http://schemas.microsoft.com/office/drawing/2014/main" id="{2DCF1E8C-FCDA-42EB-822F-D14D17F06AD6}"/>
                </a:ext>
              </a:extLst>
            </p:cNvPr>
            <p:cNvSpPr/>
            <p:nvPr/>
          </p:nvSpPr>
          <p:spPr>
            <a:xfrm>
              <a:off x="4566763" y="2454091"/>
              <a:ext cx="735302" cy="735302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25400" cap="flat" cmpd="sng" algn="ctr">
              <a:solidFill>
                <a:schemeClr val="bg1">
                  <a:lumMod val="95000"/>
                </a:schemeClr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 latinLnBrk="1">
                <a:buClrTx/>
                <a:defRPr/>
              </a:pPr>
              <a:endParaRPr lang="ko-KR" altLang="en-US" sz="1350">
                <a:solidFill>
                  <a:prstClr val="white"/>
                </a:solidFill>
                <a:latin typeface="+mj-lt"/>
                <a:ea typeface="Arial Unicode MS"/>
                <a:cs typeface="+mn-cs"/>
              </a:endParaRPr>
            </a:p>
          </p:txBody>
        </p:sp>
        <p:sp>
          <p:nvSpPr>
            <p:cNvPr id="145" name="Oval 144">
              <a:extLst>
                <a:ext uri="{FF2B5EF4-FFF2-40B4-BE49-F238E27FC236}">
                  <a16:creationId xmlns:a16="http://schemas.microsoft.com/office/drawing/2014/main" id="{B20FAE2B-35A0-493B-A33D-8928A3D1714E}"/>
                </a:ext>
              </a:extLst>
            </p:cNvPr>
            <p:cNvSpPr/>
            <p:nvPr/>
          </p:nvSpPr>
          <p:spPr>
            <a:xfrm>
              <a:off x="6484450" y="1630204"/>
              <a:ext cx="735302" cy="735302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25400" cap="flat" cmpd="sng" algn="ctr">
              <a:solidFill>
                <a:schemeClr val="bg1">
                  <a:lumMod val="95000"/>
                </a:schemeClr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 latinLnBrk="1">
                <a:buClrTx/>
                <a:defRPr/>
              </a:pPr>
              <a:endParaRPr lang="ko-KR" altLang="en-US" sz="1350">
                <a:solidFill>
                  <a:prstClr val="white"/>
                </a:solidFill>
                <a:latin typeface="+mj-lt"/>
                <a:ea typeface="Arial Unicode MS"/>
                <a:cs typeface="+mn-cs"/>
              </a:endParaRPr>
            </a:p>
          </p:txBody>
        </p:sp>
        <p:sp>
          <p:nvSpPr>
            <p:cNvPr id="146" name="Oval 145">
              <a:extLst>
                <a:ext uri="{FF2B5EF4-FFF2-40B4-BE49-F238E27FC236}">
                  <a16:creationId xmlns:a16="http://schemas.microsoft.com/office/drawing/2014/main" id="{8BCA49CD-948A-43B6-9D1F-E54FDF0AEA59}"/>
                </a:ext>
              </a:extLst>
            </p:cNvPr>
            <p:cNvSpPr/>
            <p:nvPr/>
          </p:nvSpPr>
          <p:spPr>
            <a:xfrm>
              <a:off x="7413955" y="1210509"/>
              <a:ext cx="735302" cy="735302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25400" cap="flat" cmpd="sng" algn="ctr">
              <a:solidFill>
                <a:schemeClr val="bg1">
                  <a:lumMod val="95000"/>
                </a:schemeClr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 latinLnBrk="1">
                <a:buClrTx/>
                <a:defRPr/>
              </a:pPr>
              <a:endParaRPr lang="ko-KR" altLang="en-US" sz="1350">
                <a:solidFill>
                  <a:prstClr val="white"/>
                </a:solidFill>
                <a:latin typeface="+mj-lt"/>
                <a:ea typeface="Arial Unicode MS"/>
                <a:cs typeface="+mn-cs"/>
              </a:endParaRPr>
            </a:p>
          </p:txBody>
        </p:sp>
        <p:sp>
          <p:nvSpPr>
            <p:cNvPr id="150" name="Rectangle 9">
              <a:extLst>
                <a:ext uri="{FF2B5EF4-FFF2-40B4-BE49-F238E27FC236}">
                  <a16:creationId xmlns:a16="http://schemas.microsoft.com/office/drawing/2014/main" id="{9BB45D73-E6A9-4BE2-B0E8-52FFBE4E4989}"/>
                </a:ext>
              </a:extLst>
            </p:cNvPr>
            <p:cNvSpPr/>
            <p:nvPr/>
          </p:nvSpPr>
          <p:spPr>
            <a:xfrm>
              <a:off x="6664655" y="1799172"/>
              <a:ext cx="367651" cy="370084"/>
            </a:xfrm>
            <a:custGeom>
              <a:avLst/>
              <a:gdLst>
                <a:gd name="connsiteX0" fmla="*/ 833935 w 3239999"/>
                <a:gd name="connsiteY0" fmla="*/ 22 h 3032924"/>
                <a:gd name="connsiteX1" fmla="*/ 1576606 w 3239999"/>
                <a:gd name="connsiteY1" fmla="*/ 402054 h 3032924"/>
                <a:gd name="connsiteX2" fmla="*/ 1576606 w 3239999"/>
                <a:gd name="connsiteY2" fmla="*/ 430441 h 3032924"/>
                <a:gd name="connsiteX3" fmla="*/ 1576606 w 3239999"/>
                <a:gd name="connsiteY3" fmla="*/ 526981 h 3032924"/>
                <a:gd name="connsiteX4" fmla="*/ 1576606 w 3239999"/>
                <a:gd name="connsiteY4" fmla="*/ 2765302 h 3032924"/>
                <a:gd name="connsiteX5" fmla="*/ 378630 w 3239999"/>
                <a:gd name="connsiteY5" fmla="*/ 2472117 h 3032924"/>
                <a:gd name="connsiteX6" fmla="*/ 384918 w 3239999"/>
                <a:gd name="connsiteY6" fmla="*/ 526981 h 3032924"/>
                <a:gd name="connsiteX7" fmla="*/ 239143 w 3239999"/>
                <a:gd name="connsiteY7" fmla="*/ 526981 h 3032924"/>
                <a:gd name="connsiteX8" fmla="*/ 239143 w 3239999"/>
                <a:gd name="connsiteY8" fmla="*/ 2776423 h 3032924"/>
                <a:gd name="connsiteX9" fmla="*/ 1576606 w 3239999"/>
                <a:gd name="connsiteY9" fmla="*/ 2776423 h 3032924"/>
                <a:gd name="connsiteX10" fmla="*/ 1576606 w 3239999"/>
                <a:gd name="connsiteY10" fmla="*/ 2778202 h 3032924"/>
                <a:gd name="connsiteX11" fmla="*/ 1663394 w 3239999"/>
                <a:gd name="connsiteY11" fmla="*/ 2778202 h 3032924"/>
                <a:gd name="connsiteX12" fmla="*/ 1663394 w 3239999"/>
                <a:gd name="connsiteY12" fmla="*/ 2776423 h 3032924"/>
                <a:gd name="connsiteX13" fmla="*/ 3000856 w 3239999"/>
                <a:gd name="connsiteY13" fmla="*/ 2776423 h 3032924"/>
                <a:gd name="connsiteX14" fmla="*/ 3000856 w 3239999"/>
                <a:gd name="connsiteY14" fmla="*/ 526981 h 3032924"/>
                <a:gd name="connsiteX15" fmla="*/ 2855082 w 3239999"/>
                <a:gd name="connsiteY15" fmla="*/ 526981 h 3032924"/>
                <a:gd name="connsiteX16" fmla="*/ 2861369 w 3239999"/>
                <a:gd name="connsiteY16" fmla="*/ 2472117 h 3032924"/>
                <a:gd name="connsiteX17" fmla="*/ 1663394 w 3239999"/>
                <a:gd name="connsiteY17" fmla="*/ 2765302 h 3032924"/>
                <a:gd name="connsiteX18" fmla="*/ 1663394 w 3239999"/>
                <a:gd name="connsiteY18" fmla="*/ 526981 h 3032924"/>
                <a:gd name="connsiteX19" fmla="*/ 1663394 w 3239999"/>
                <a:gd name="connsiteY19" fmla="*/ 430441 h 3032924"/>
                <a:gd name="connsiteX20" fmla="*/ 1663394 w 3239999"/>
                <a:gd name="connsiteY20" fmla="*/ 402054 h 3032924"/>
                <a:gd name="connsiteX21" fmla="*/ 2406065 w 3239999"/>
                <a:gd name="connsiteY21" fmla="*/ 22 h 3032924"/>
                <a:gd name="connsiteX22" fmla="*/ 2853673 w 3239999"/>
                <a:gd name="connsiteY22" fmla="*/ 91100 h 3032924"/>
                <a:gd name="connsiteX23" fmla="*/ 2854770 w 3239999"/>
                <a:gd name="connsiteY23" fmla="*/ 430441 h 3032924"/>
                <a:gd name="connsiteX24" fmla="*/ 3120669 w 3239999"/>
                <a:gd name="connsiteY24" fmla="*/ 428517 h 3032924"/>
                <a:gd name="connsiteX25" fmla="*/ 3120669 w 3239999"/>
                <a:gd name="connsiteY25" fmla="*/ 738345 h 3032924"/>
                <a:gd name="connsiteX26" fmla="*/ 3239999 w 3239999"/>
                <a:gd name="connsiteY26" fmla="*/ 738345 h 3032924"/>
                <a:gd name="connsiteX27" fmla="*/ 3239999 w 3239999"/>
                <a:gd name="connsiteY27" fmla="*/ 3032924 h 3032924"/>
                <a:gd name="connsiteX28" fmla="*/ 0 w 3239999"/>
                <a:gd name="connsiteY28" fmla="*/ 3032924 h 3032924"/>
                <a:gd name="connsiteX29" fmla="*/ 0 w 3239999"/>
                <a:gd name="connsiteY29" fmla="*/ 738345 h 3032924"/>
                <a:gd name="connsiteX30" fmla="*/ 102477 w 3239999"/>
                <a:gd name="connsiteY30" fmla="*/ 738345 h 3032924"/>
                <a:gd name="connsiteX31" fmla="*/ 102477 w 3239999"/>
                <a:gd name="connsiteY31" fmla="*/ 428517 h 3032924"/>
                <a:gd name="connsiteX32" fmla="*/ 385229 w 3239999"/>
                <a:gd name="connsiteY32" fmla="*/ 430441 h 3032924"/>
                <a:gd name="connsiteX33" fmla="*/ 386326 w 3239999"/>
                <a:gd name="connsiteY33" fmla="*/ 91100 h 3032924"/>
                <a:gd name="connsiteX34" fmla="*/ 833935 w 3239999"/>
                <a:gd name="connsiteY34" fmla="*/ 22 h 3032924"/>
                <a:gd name="connsiteX0" fmla="*/ 833935 w 3239999"/>
                <a:gd name="connsiteY0" fmla="*/ 22 h 3032924"/>
                <a:gd name="connsiteX1" fmla="*/ 1576606 w 3239999"/>
                <a:gd name="connsiteY1" fmla="*/ 402054 h 3032924"/>
                <a:gd name="connsiteX2" fmla="*/ 1576606 w 3239999"/>
                <a:gd name="connsiteY2" fmla="*/ 430441 h 3032924"/>
                <a:gd name="connsiteX3" fmla="*/ 1576606 w 3239999"/>
                <a:gd name="connsiteY3" fmla="*/ 526981 h 3032924"/>
                <a:gd name="connsiteX4" fmla="*/ 1576606 w 3239999"/>
                <a:gd name="connsiteY4" fmla="*/ 2765302 h 3032924"/>
                <a:gd name="connsiteX5" fmla="*/ 378630 w 3239999"/>
                <a:gd name="connsiteY5" fmla="*/ 2472117 h 3032924"/>
                <a:gd name="connsiteX6" fmla="*/ 384918 w 3239999"/>
                <a:gd name="connsiteY6" fmla="*/ 526981 h 3032924"/>
                <a:gd name="connsiteX7" fmla="*/ 239143 w 3239999"/>
                <a:gd name="connsiteY7" fmla="*/ 526981 h 3032924"/>
                <a:gd name="connsiteX8" fmla="*/ 239143 w 3239999"/>
                <a:gd name="connsiteY8" fmla="*/ 2776423 h 3032924"/>
                <a:gd name="connsiteX9" fmla="*/ 1576606 w 3239999"/>
                <a:gd name="connsiteY9" fmla="*/ 2776423 h 3032924"/>
                <a:gd name="connsiteX10" fmla="*/ 1576606 w 3239999"/>
                <a:gd name="connsiteY10" fmla="*/ 2778202 h 3032924"/>
                <a:gd name="connsiteX11" fmla="*/ 1663394 w 3239999"/>
                <a:gd name="connsiteY11" fmla="*/ 2778202 h 3032924"/>
                <a:gd name="connsiteX12" fmla="*/ 1663394 w 3239999"/>
                <a:gd name="connsiteY12" fmla="*/ 2776423 h 3032924"/>
                <a:gd name="connsiteX13" fmla="*/ 3000856 w 3239999"/>
                <a:gd name="connsiteY13" fmla="*/ 2776423 h 3032924"/>
                <a:gd name="connsiteX14" fmla="*/ 3000856 w 3239999"/>
                <a:gd name="connsiteY14" fmla="*/ 526981 h 3032924"/>
                <a:gd name="connsiteX15" fmla="*/ 2855082 w 3239999"/>
                <a:gd name="connsiteY15" fmla="*/ 526981 h 3032924"/>
                <a:gd name="connsiteX16" fmla="*/ 2861369 w 3239999"/>
                <a:gd name="connsiteY16" fmla="*/ 2472117 h 3032924"/>
                <a:gd name="connsiteX17" fmla="*/ 1663394 w 3239999"/>
                <a:gd name="connsiteY17" fmla="*/ 2765302 h 3032924"/>
                <a:gd name="connsiteX18" fmla="*/ 1663394 w 3239999"/>
                <a:gd name="connsiteY18" fmla="*/ 526981 h 3032924"/>
                <a:gd name="connsiteX19" fmla="*/ 1663394 w 3239999"/>
                <a:gd name="connsiteY19" fmla="*/ 430441 h 3032924"/>
                <a:gd name="connsiteX20" fmla="*/ 1663394 w 3239999"/>
                <a:gd name="connsiteY20" fmla="*/ 402054 h 3032924"/>
                <a:gd name="connsiteX21" fmla="*/ 2406065 w 3239999"/>
                <a:gd name="connsiteY21" fmla="*/ 22 h 3032924"/>
                <a:gd name="connsiteX22" fmla="*/ 2853673 w 3239999"/>
                <a:gd name="connsiteY22" fmla="*/ 91100 h 3032924"/>
                <a:gd name="connsiteX23" fmla="*/ 2854770 w 3239999"/>
                <a:gd name="connsiteY23" fmla="*/ 430441 h 3032924"/>
                <a:gd name="connsiteX24" fmla="*/ 3120669 w 3239999"/>
                <a:gd name="connsiteY24" fmla="*/ 428517 h 3032924"/>
                <a:gd name="connsiteX25" fmla="*/ 3120669 w 3239999"/>
                <a:gd name="connsiteY25" fmla="*/ 738345 h 3032924"/>
                <a:gd name="connsiteX26" fmla="*/ 3239999 w 3239999"/>
                <a:gd name="connsiteY26" fmla="*/ 738345 h 3032924"/>
                <a:gd name="connsiteX27" fmla="*/ 3239999 w 3239999"/>
                <a:gd name="connsiteY27" fmla="*/ 3032924 h 3032924"/>
                <a:gd name="connsiteX28" fmla="*/ 0 w 3239999"/>
                <a:gd name="connsiteY28" fmla="*/ 3032924 h 3032924"/>
                <a:gd name="connsiteX29" fmla="*/ 0 w 3239999"/>
                <a:gd name="connsiteY29" fmla="*/ 738345 h 3032924"/>
                <a:gd name="connsiteX30" fmla="*/ 102477 w 3239999"/>
                <a:gd name="connsiteY30" fmla="*/ 738345 h 3032924"/>
                <a:gd name="connsiteX31" fmla="*/ 102477 w 3239999"/>
                <a:gd name="connsiteY31" fmla="*/ 428517 h 3032924"/>
                <a:gd name="connsiteX32" fmla="*/ 385229 w 3239999"/>
                <a:gd name="connsiteY32" fmla="*/ 430441 h 3032924"/>
                <a:gd name="connsiteX33" fmla="*/ 386326 w 3239999"/>
                <a:gd name="connsiteY33" fmla="*/ 91100 h 3032924"/>
                <a:gd name="connsiteX34" fmla="*/ 833935 w 3239999"/>
                <a:gd name="connsiteY34" fmla="*/ 22 h 3032924"/>
                <a:gd name="connsiteX0" fmla="*/ 833935 w 3239999"/>
                <a:gd name="connsiteY0" fmla="*/ 22 h 3032924"/>
                <a:gd name="connsiteX1" fmla="*/ 1576606 w 3239999"/>
                <a:gd name="connsiteY1" fmla="*/ 402054 h 3032924"/>
                <a:gd name="connsiteX2" fmla="*/ 1576606 w 3239999"/>
                <a:gd name="connsiteY2" fmla="*/ 430441 h 3032924"/>
                <a:gd name="connsiteX3" fmla="*/ 1576606 w 3239999"/>
                <a:gd name="connsiteY3" fmla="*/ 526981 h 3032924"/>
                <a:gd name="connsiteX4" fmla="*/ 1576606 w 3239999"/>
                <a:gd name="connsiteY4" fmla="*/ 2765302 h 3032924"/>
                <a:gd name="connsiteX5" fmla="*/ 378630 w 3239999"/>
                <a:gd name="connsiteY5" fmla="*/ 2472117 h 3032924"/>
                <a:gd name="connsiteX6" fmla="*/ 384918 w 3239999"/>
                <a:gd name="connsiteY6" fmla="*/ 526981 h 3032924"/>
                <a:gd name="connsiteX7" fmla="*/ 239143 w 3239999"/>
                <a:gd name="connsiteY7" fmla="*/ 526981 h 3032924"/>
                <a:gd name="connsiteX8" fmla="*/ 239143 w 3239999"/>
                <a:gd name="connsiteY8" fmla="*/ 2776423 h 3032924"/>
                <a:gd name="connsiteX9" fmla="*/ 1576606 w 3239999"/>
                <a:gd name="connsiteY9" fmla="*/ 2776423 h 3032924"/>
                <a:gd name="connsiteX10" fmla="*/ 1576606 w 3239999"/>
                <a:gd name="connsiteY10" fmla="*/ 2778202 h 3032924"/>
                <a:gd name="connsiteX11" fmla="*/ 1663394 w 3239999"/>
                <a:gd name="connsiteY11" fmla="*/ 2778202 h 3032924"/>
                <a:gd name="connsiteX12" fmla="*/ 1663394 w 3239999"/>
                <a:gd name="connsiteY12" fmla="*/ 2776423 h 3032924"/>
                <a:gd name="connsiteX13" fmla="*/ 3000856 w 3239999"/>
                <a:gd name="connsiteY13" fmla="*/ 2776423 h 3032924"/>
                <a:gd name="connsiteX14" fmla="*/ 3000856 w 3239999"/>
                <a:gd name="connsiteY14" fmla="*/ 526981 h 3032924"/>
                <a:gd name="connsiteX15" fmla="*/ 2855082 w 3239999"/>
                <a:gd name="connsiteY15" fmla="*/ 526981 h 3032924"/>
                <a:gd name="connsiteX16" fmla="*/ 2861369 w 3239999"/>
                <a:gd name="connsiteY16" fmla="*/ 2472117 h 3032924"/>
                <a:gd name="connsiteX17" fmla="*/ 1663394 w 3239999"/>
                <a:gd name="connsiteY17" fmla="*/ 2765302 h 3032924"/>
                <a:gd name="connsiteX18" fmla="*/ 1663394 w 3239999"/>
                <a:gd name="connsiteY18" fmla="*/ 526981 h 3032924"/>
                <a:gd name="connsiteX19" fmla="*/ 1663394 w 3239999"/>
                <a:gd name="connsiteY19" fmla="*/ 430441 h 3032924"/>
                <a:gd name="connsiteX20" fmla="*/ 1663394 w 3239999"/>
                <a:gd name="connsiteY20" fmla="*/ 402054 h 3032924"/>
                <a:gd name="connsiteX21" fmla="*/ 2406065 w 3239999"/>
                <a:gd name="connsiteY21" fmla="*/ 22 h 3032924"/>
                <a:gd name="connsiteX22" fmla="*/ 2853673 w 3239999"/>
                <a:gd name="connsiteY22" fmla="*/ 91100 h 3032924"/>
                <a:gd name="connsiteX23" fmla="*/ 2854770 w 3239999"/>
                <a:gd name="connsiteY23" fmla="*/ 430441 h 3032924"/>
                <a:gd name="connsiteX24" fmla="*/ 3120669 w 3239999"/>
                <a:gd name="connsiteY24" fmla="*/ 428517 h 3032924"/>
                <a:gd name="connsiteX25" fmla="*/ 3120669 w 3239999"/>
                <a:gd name="connsiteY25" fmla="*/ 738345 h 3032924"/>
                <a:gd name="connsiteX26" fmla="*/ 3239999 w 3239999"/>
                <a:gd name="connsiteY26" fmla="*/ 738345 h 3032924"/>
                <a:gd name="connsiteX27" fmla="*/ 3239999 w 3239999"/>
                <a:gd name="connsiteY27" fmla="*/ 3032924 h 3032924"/>
                <a:gd name="connsiteX28" fmla="*/ 0 w 3239999"/>
                <a:gd name="connsiteY28" fmla="*/ 3032924 h 3032924"/>
                <a:gd name="connsiteX29" fmla="*/ 0 w 3239999"/>
                <a:gd name="connsiteY29" fmla="*/ 738345 h 3032924"/>
                <a:gd name="connsiteX30" fmla="*/ 102477 w 3239999"/>
                <a:gd name="connsiteY30" fmla="*/ 738345 h 3032924"/>
                <a:gd name="connsiteX31" fmla="*/ 102477 w 3239999"/>
                <a:gd name="connsiteY31" fmla="*/ 428517 h 3032924"/>
                <a:gd name="connsiteX32" fmla="*/ 385229 w 3239999"/>
                <a:gd name="connsiteY32" fmla="*/ 430441 h 3032924"/>
                <a:gd name="connsiteX33" fmla="*/ 386326 w 3239999"/>
                <a:gd name="connsiteY33" fmla="*/ 91100 h 3032924"/>
                <a:gd name="connsiteX34" fmla="*/ 833935 w 3239999"/>
                <a:gd name="connsiteY34" fmla="*/ 22 h 3032924"/>
                <a:gd name="connsiteX0" fmla="*/ 1576606 w 3239999"/>
                <a:gd name="connsiteY0" fmla="*/ 2778202 h 3032924"/>
                <a:gd name="connsiteX1" fmla="*/ 1663394 w 3239999"/>
                <a:gd name="connsiteY1" fmla="*/ 2778202 h 3032924"/>
                <a:gd name="connsiteX2" fmla="*/ 1663394 w 3239999"/>
                <a:gd name="connsiteY2" fmla="*/ 2776423 h 3032924"/>
                <a:gd name="connsiteX3" fmla="*/ 3000856 w 3239999"/>
                <a:gd name="connsiteY3" fmla="*/ 2776423 h 3032924"/>
                <a:gd name="connsiteX4" fmla="*/ 3000856 w 3239999"/>
                <a:gd name="connsiteY4" fmla="*/ 526981 h 3032924"/>
                <a:gd name="connsiteX5" fmla="*/ 2855082 w 3239999"/>
                <a:gd name="connsiteY5" fmla="*/ 526981 h 3032924"/>
                <a:gd name="connsiteX6" fmla="*/ 2861369 w 3239999"/>
                <a:gd name="connsiteY6" fmla="*/ 2472117 h 3032924"/>
                <a:gd name="connsiteX7" fmla="*/ 1663394 w 3239999"/>
                <a:gd name="connsiteY7" fmla="*/ 2765302 h 3032924"/>
                <a:gd name="connsiteX8" fmla="*/ 1663394 w 3239999"/>
                <a:gd name="connsiteY8" fmla="*/ 526981 h 3032924"/>
                <a:gd name="connsiteX9" fmla="*/ 1663394 w 3239999"/>
                <a:gd name="connsiteY9" fmla="*/ 430441 h 3032924"/>
                <a:gd name="connsiteX10" fmla="*/ 1663394 w 3239999"/>
                <a:gd name="connsiteY10" fmla="*/ 402054 h 3032924"/>
                <a:gd name="connsiteX11" fmla="*/ 2406065 w 3239999"/>
                <a:gd name="connsiteY11" fmla="*/ 22 h 3032924"/>
                <a:gd name="connsiteX12" fmla="*/ 2853673 w 3239999"/>
                <a:gd name="connsiteY12" fmla="*/ 91100 h 3032924"/>
                <a:gd name="connsiteX13" fmla="*/ 2854770 w 3239999"/>
                <a:gd name="connsiteY13" fmla="*/ 430441 h 3032924"/>
                <a:gd name="connsiteX14" fmla="*/ 3120669 w 3239999"/>
                <a:gd name="connsiteY14" fmla="*/ 428517 h 3032924"/>
                <a:gd name="connsiteX15" fmla="*/ 3120669 w 3239999"/>
                <a:gd name="connsiteY15" fmla="*/ 738345 h 3032924"/>
                <a:gd name="connsiteX16" fmla="*/ 3239999 w 3239999"/>
                <a:gd name="connsiteY16" fmla="*/ 738345 h 3032924"/>
                <a:gd name="connsiteX17" fmla="*/ 3239999 w 3239999"/>
                <a:gd name="connsiteY17" fmla="*/ 3032924 h 3032924"/>
                <a:gd name="connsiteX18" fmla="*/ 0 w 3239999"/>
                <a:gd name="connsiteY18" fmla="*/ 3032924 h 3032924"/>
                <a:gd name="connsiteX19" fmla="*/ 0 w 3239999"/>
                <a:gd name="connsiteY19" fmla="*/ 738345 h 3032924"/>
                <a:gd name="connsiteX20" fmla="*/ 102477 w 3239999"/>
                <a:gd name="connsiteY20" fmla="*/ 738345 h 3032924"/>
                <a:gd name="connsiteX21" fmla="*/ 102477 w 3239999"/>
                <a:gd name="connsiteY21" fmla="*/ 428517 h 3032924"/>
                <a:gd name="connsiteX22" fmla="*/ 385229 w 3239999"/>
                <a:gd name="connsiteY22" fmla="*/ 430441 h 3032924"/>
                <a:gd name="connsiteX23" fmla="*/ 386326 w 3239999"/>
                <a:gd name="connsiteY23" fmla="*/ 91100 h 3032924"/>
                <a:gd name="connsiteX24" fmla="*/ 833935 w 3239999"/>
                <a:gd name="connsiteY24" fmla="*/ 22 h 3032924"/>
                <a:gd name="connsiteX25" fmla="*/ 1576606 w 3239999"/>
                <a:gd name="connsiteY25" fmla="*/ 402054 h 3032924"/>
                <a:gd name="connsiteX26" fmla="*/ 1576606 w 3239999"/>
                <a:gd name="connsiteY26" fmla="*/ 430441 h 3032924"/>
                <a:gd name="connsiteX27" fmla="*/ 1576606 w 3239999"/>
                <a:gd name="connsiteY27" fmla="*/ 526981 h 3032924"/>
                <a:gd name="connsiteX28" fmla="*/ 1576606 w 3239999"/>
                <a:gd name="connsiteY28" fmla="*/ 2765302 h 3032924"/>
                <a:gd name="connsiteX29" fmla="*/ 378630 w 3239999"/>
                <a:gd name="connsiteY29" fmla="*/ 2472117 h 3032924"/>
                <a:gd name="connsiteX30" fmla="*/ 384918 w 3239999"/>
                <a:gd name="connsiteY30" fmla="*/ 526981 h 3032924"/>
                <a:gd name="connsiteX31" fmla="*/ 239143 w 3239999"/>
                <a:gd name="connsiteY31" fmla="*/ 526981 h 3032924"/>
                <a:gd name="connsiteX32" fmla="*/ 239143 w 3239999"/>
                <a:gd name="connsiteY32" fmla="*/ 2776423 h 3032924"/>
                <a:gd name="connsiteX33" fmla="*/ 1576606 w 3239999"/>
                <a:gd name="connsiteY33" fmla="*/ 2776423 h 3032924"/>
                <a:gd name="connsiteX34" fmla="*/ 1668046 w 3239999"/>
                <a:gd name="connsiteY34" fmla="*/ 2869642 h 3032924"/>
                <a:gd name="connsiteX0" fmla="*/ 1576606 w 3239999"/>
                <a:gd name="connsiteY0" fmla="*/ 2778202 h 3032924"/>
                <a:gd name="connsiteX1" fmla="*/ 1663394 w 3239999"/>
                <a:gd name="connsiteY1" fmla="*/ 2778202 h 3032924"/>
                <a:gd name="connsiteX2" fmla="*/ 1663394 w 3239999"/>
                <a:gd name="connsiteY2" fmla="*/ 2776423 h 3032924"/>
                <a:gd name="connsiteX3" fmla="*/ 3000856 w 3239999"/>
                <a:gd name="connsiteY3" fmla="*/ 2776423 h 3032924"/>
                <a:gd name="connsiteX4" fmla="*/ 3000856 w 3239999"/>
                <a:gd name="connsiteY4" fmla="*/ 526981 h 3032924"/>
                <a:gd name="connsiteX5" fmla="*/ 2855082 w 3239999"/>
                <a:gd name="connsiteY5" fmla="*/ 526981 h 3032924"/>
                <a:gd name="connsiteX6" fmla="*/ 2861369 w 3239999"/>
                <a:gd name="connsiteY6" fmla="*/ 2472117 h 3032924"/>
                <a:gd name="connsiteX7" fmla="*/ 1663394 w 3239999"/>
                <a:gd name="connsiteY7" fmla="*/ 2765302 h 3032924"/>
                <a:gd name="connsiteX8" fmla="*/ 1663394 w 3239999"/>
                <a:gd name="connsiteY8" fmla="*/ 526981 h 3032924"/>
                <a:gd name="connsiteX9" fmla="*/ 1663394 w 3239999"/>
                <a:gd name="connsiteY9" fmla="*/ 430441 h 3032924"/>
                <a:gd name="connsiteX10" fmla="*/ 1663394 w 3239999"/>
                <a:gd name="connsiteY10" fmla="*/ 402054 h 3032924"/>
                <a:gd name="connsiteX11" fmla="*/ 2406065 w 3239999"/>
                <a:gd name="connsiteY11" fmla="*/ 22 h 3032924"/>
                <a:gd name="connsiteX12" fmla="*/ 2853673 w 3239999"/>
                <a:gd name="connsiteY12" fmla="*/ 91100 h 3032924"/>
                <a:gd name="connsiteX13" fmla="*/ 2854770 w 3239999"/>
                <a:gd name="connsiteY13" fmla="*/ 430441 h 3032924"/>
                <a:gd name="connsiteX14" fmla="*/ 3120669 w 3239999"/>
                <a:gd name="connsiteY14" fmla="*/ 428517 h 3032924"/>
                <a:gd name="connsiteX15" fmla="*/ 3120669 w 3239999"/>
                <a:gd name="connsiteY15" fmla="*/ 738345 h 3032924"/>
                <a:gd name="connsiteX16" fmla="*/ 3239999 w 3239999"/>
                <a:gd name="connsiteY16" fmla="*/ 738345 h 3032924"/>
                <a:gd name="connsiteX17" fmla="*/ 3239999 w 3239999"/>
                <a:gd name="connsiteY17" fmla="*/ 3032924 h 3032924"/>
                <a:gd name="connsiteX18" fmla="*/ 0 w 3239999"/>
                <a:gd name="connsiteY18" fmla="*/ 3032924 h 3032924"/>
                <a:gd name="connsiteX19" fmla="*/ 0 w 3239999"/>
                <a:gd name="connsiteY19" fmla="*/ 738345 h 3032924"/>
                <a:gd name="connsiteX20" fmla="*/ 102477 w 3239999"/>
                <a:gd name="connsiteY20" fmla="*/ 738345 h 3032924"/>
                <a:gd name="connsiteX21" fmla="*/ 102477 w 3239999"/>
                <a:gd name="connsiteY21" fmla="*/ 428517 h 3032924"/>
                <a:gd name="connsiteX22" fmla="*/ 385229 w 3239999"/>
                <a:gd name="connsiteY22" fmla="*/ 430441 h 3032924"/>
                <a:gd name="connsiteX23" fmla="*/ 386326 w 3239999"/>
                <a:gd name="connsiteY23" fmla="*/ 91100 h 3032924"/>
                <a:gd name="connsiteX24" fmla="*/ 833935 w 3239999"/>
                <a:gd name="connsiteY24" fmla="*/ 22 h 3032924"/>
                <a:gd name="connsiteX25" fmla="*/ 1576606 w 3239999"/>
                <a:gd name="connsiteY25" fmla="*/ 402054 h 3032924"/>
                <a:gd name="connsiteX26" fmla="*/ 1576606 w 3239999"/>
                <a:gd name="connsiteY26" fmla="*/ 430441 h 3032924"/>
                <a:gd name="connsiteX27" fmla="*/ 1576606 w 3239999"/>
                <a:gd name="connsiteY27" fmla="*/ 526981 h 3032924"/>
                <a:gd name="connsiteX28" fmla="*/ 1576606 w 3239999"/>
                <a:gd name="connsiteY28" fmla="*/ 2765302 h 3032924"/>
                <a:gd name="connsiteX29" fmla="*/ 378630 w 3239999"/>
                <a:gd name="connsiteY29" fmla="*/ 2472117 h 3032924"/>
                <a:gd name="connsiteX30" fmla="*/ 384918 w 3239999"/>
                <a:gd name="connsiteY30" fmla="*/ 526981 h 3032924"/>
                <a:gd name="connsiteX31" fmla="*/ 239143 w 3239999"/>
                <a:gd name="connsiteY31" fmla="*/ 526981 h 3032924"/>
                <a:gd name="connsiteX32" fmla="*/ 239143 w 3239999"/>
                <a:gd name="connsiteY32" fmla="*/ 2776423 h 3032924"/>
                <a:gd name="connsiteX33" fmla="*/ 1576606 w 3239999"/>
                <a:gd name="connsiteY33" fmla="*/ 2776423 h 3032924"/>
                <a:gd name="connsiteX34" fmla="*/ 1668046 w 3239999"/>
                <a:gd name="connsiteY34" fmla="*/ 2869642 h 3032924"/>
                <a:gd name="connsiteX0" fmla="*/ 1576606 w 3239999"/>
                <a:gd name="connsiteY0" fmla="*/ 2778202 h 3032924"/>
                <a:gd name="connsiteX1" fmla="*/ 1663394 w 3239999"/>
                <a:gd name="connsiteY1" fmla="*/ 2778202 h 3032924"/>
                <a:gd name="connsiteX2" fmla="*/ 1663394 w 3239999"/>
                <a:gd name="connsiteY2" fmla="*/ 2776423 h 3032924"/>
                <a:gd name="connsiteX3" fmla="*/ 3000856 w 3239999"/>
                <a:gd name="connsiteY3" fmla="*/ 2776423 h 3032924"/>
                <a:gd name="connsiteX4" fmla="*/ 3000856 w 3239999"/>
                <a:gd name="connsiteY4" fmla="*/ 526981 h 3032924"/>
                <a:gd name="connsiteX5" fmla="*/ 2855082 w 3239999"/>
                <a:gd name="connsiteY5" fmla="*/ 526981 h 3032924"/>
                <a:gd name="connsiteX6" fmla="*/ 2861369 w 3239999"/>
                <a:gd name="connsiteY6" fmla="*/ 2472117 h 3032924"/>
                <a:gd name="connsiteX7" fmla="*/ 1663394 w 3239999"/>
                <a:gd name="connsiteY7" fmla="*/ 2765302 h 3032924"/>
                <a:gd name="connsiteX8" fmla="*/ 1663394 w 3239999"/>
                <a:gd name="connsiteY8" fmla="*/ 526981 h 3032924"/>
                <a:gd name="connsiteX9" fmla="*/ 1663394 w 3239999"/>
                <a:gd name="connsiteY9" fmla="*/ 430441 h 3032924"/>
                <a:gd name="connsiteX10" fmla="*/ 1663394 w 3239999"/>
                <a:gd name="connsiteY10" fmla="*/ 402054 h 3032924"/>
                <a:gd name="connsiteX11" fmla="*/ 2406065 w 3239999"/>
                <a:gd name="connsiteY11" fmla="*/ 22 h 3032924"/>
                <a:gd name="connsiteX12" fmla="*/ 2853673 w 3239999"/>
                <a:gd name="connsiteY12" fmla="*/ 91100 h 3032924"/>
                <a:gd name="connsiteX13" fmla="*/ 2854770 w 3239999"/>
                <a:gd name="connsiteY13" fmla="*/ 430441 h 3032924"/>
                <a:gd name="connsiteX14" fmla="*/ 3120669 w 3239999"/>
                <a:gd name="connsiteY14" fmla="*/ 428517 h 3032924"/>
                <a:gd name="connsiteX15" fmla="*/ 3120669 w 3239999"/>
                <a:gd name="connsiteY15" fmla="*/ 738345 h 3032924"/>
                <a:gd name="connsiteX16" fmla="*/ 3239999 w 3239999"/>
                <a:gd name="connsiteY16" fmla="*/ 738345 h 3032924"/>
                <a:gd name="connsiteX17" fmla="*/ 3239999 w 3239999"/>
                <a:gd name="connsiteY17" fmla="*/ 3032924 h 3032924"/>
                <a:gd name="connsiteX18" fmla="*/ 0 w 3239999"/>
                <a:gd name="connsiteY18" fmla="*/ 3032924 h 3032924"/>
                <a:gd name="connsiteX19" fmla="*/ 0 w 3239999"/>
                <a:gd name="connsiteY19" fmla="*/ 738345 h 3032924"/>
                <a:gd name="connsiteX20" fmla="*/ 102477 w 3239999"/>
                <a:gd name="connsiteY20" fmla="*/ 738345 h 3032924"/>
                <a:gd name="connsiteX21" fmla="*/ 102477 w 3239999"/>
                <a:gd name="connsiteY21" fmla="*/ 428517 h 3032924"/>
                <a:gd name="connsiteX22" fmla="*/ 385229 w 3239999"/>
                <a:gd name="connsiteY22" fmla="*/ 430441 h 3032924"/>
                <a:gd name="connsiteX23" fmla="*/ 386326 w 3239999"/>
                <a:gd name="connsiteY23" fmla="*/ 91100 h 3032924"/>
                <a:gd name="connsiteX24" fmla="*/ 833935 w 3239999"/>
                <a:gd name="connsiteY24" fmla="*/ 22 h 3032924"/>
                <a:gd name="connsiteX25" fmla="*/ 1576606 w 3239999"/>
                <a:gd name="connsiteY25" fmla="*/ 402054 h 3032924"/>
                <a:gd name="connsiteX26" fmla="*/ 1576606 w 3239999"/>
                <a:gd name="connsiteY26" fmla="*/ 430441 h 3032924"/>
                <a:gd name="connsiteX27" fmla="*/ 1576606 w 3239999"/>
                <a:gd name="connsiteY27" fmla="*/ 526981 h 3032924"/>
                <a:gd name="connsiteX28" fmla="*/ 1576606 w 3239999"/>
                <a:gd name="connsiteY28" fmla="*/ 2765302 h 3032924"/>
                <a:gd name="connsiteX29" fmla="*/ 378630 w 3239999"/>
                <a:gd name="connsiteY29" fmla="*/ 2472117 h 3032924"/>
                <a:gd name="connsiteX30" fmla="*/ 384918 w 3239999"/>
                <a:gd name="connsiteY30" fmla="*/ 526981 h 3032924"/>
                <a:gd name="connsiteX31" fmla="*/ 239143 w 3239999"/>
                <a:gd name="connsiteY31" fmla="*/ 526981 h 3032924"/>
                <a:gd name="connsiteX32" fmla="*/ 239143 w 3239999"/>
                <a:gd name="connsiteY32" fmla="*/ 2776423 h 3032924"/>
                <a:gd name="connsiteX33" fmla="*/ 1576606 w 3239999"/>
                <a:gd name="connsiteY33" fmla="*/ 2776423 h 3032924"/>
                <a:gd name="connsiteX34" fmla="*/ 1668046 w 3239999"/>
                <a:gd name="connsiteY34" fmla="*/ 2869642 h 3032924"/>
                <a:gd name="connsiteX0" fmla="*/ 1576606 w 3239999"/>
                <a:gd name="connsiteY0" fmla="*/ 2778202 h 3032924"/>
                <a:gd name="connsiteX1" fmla="*/ 1663394 w 3239999"/>
                <a:gd name="connsiteY1" fmla="*/ 2778202 h 3032924"/>
                <a:gd name="connsiteX2" fmla="*/ 1663394 w 3239999"/>
                <a:gd name="connsiteY2" fmla="*/ 2776423 h 3032924"/>
                <a:gd name="connsiteX3" fmla="*/ 3000856 w 3239999"/>
                <a:gd name="connsiteY3" fmla="*/ 2776423 h 3032924"/>
                <a:gd name="connsiteX4" fmla="*/ 3000856 w 3239999"/>
                <a:gd name="connsiteY4" fmla="*/ 526981 h 3032924"/>
                <a:gd name="connsiteX5" fmla="*/ 2855082 w 3239999"/>
                <a:gd name="connsiteY5" fmla="*/ 526981 h 3032924"/>
                <a:gd name="connsiteX6" fmla="*/ 2861369 w 3239999"/>
                <a:gd name="connsiteY6" fmla="*/ 2472117 h 3032924"/>
                <a:gd name="connsiteX7" fmla="*/ 1663394 w 3239999"/>
                <a:gd name="connsiteY7" fmla="*/ 2765302 h 3032924"/>
                <a:gd name="connsiteX8" fmla="*/ 1663394 w 3239999"/>
                <a:gd name="connsiteY8" fmla="*/ 526981 h 3032924"/>
                <a:gd name="connsiteX9" fmla="*/ 1663394 w 3239999"/>
                <a:gd name="connsiteY9" fmla="*/ 430441 h 3032924"/>
                <a:gd name="connsiteX10" fmla="*/ 1663394 w 3239999"/>
                <a:gd name="connsiteY10" fmla="*/ 402054 h 3032924"/>
                <a:gd name="connsiteX11" fmla="*/ 2406065 w 3239999"/>
                <a:gd name="connsiteY11" fmla="*/ 22 h 3032924"/>
                <a:gd name="connsiteX12" fmla="*/ 2853673 w 3239999"/>
                <a:gd name="connsiteY12" fmla="*/ 91100 h 3032924"/>
                <a:gd name="connsiteX13" fmla="*/ 2854770 w 3239999"/>
                <a:gd name="connsiteY13" fmla="*/ 430441 h 3032924"/>
                <a:gd name="connsiteX14" fmla="*/ 3120669 w 3239999"/>
                <a:gd name="connsiteY14" fmla="*/ 428517 h 3032924"/>
                <a:gd name="connsiteX15" fmla="*/ 3120669 w 3239999"/>
                <a:gd name="connsiteY15" fmla="*/ 738345 h 3032924"/>
                <a:gd name="connsiteX16" fmla="*/ 3239999 w 3239999"/>
                <a:gd name="connsiteY16" fmla="*/ 738345 h 3032924"/>
                <a:gd name="connsiteX17" fmla="*/ 3239999 w 3239999"/>
                <a:gd name="connsiteY17" fmla="*/ 3032924 h 3032924"/>
                <a:gd name="connsiteX18" fmla="*/ 0 w 3239999"/>
                <a:gd name="connsiteY18" fmla="*/ 3032924 h 3032924"/>
                <a:gd name="connsiteX19" fmla="*/ 0 w 3239999"/>
                <a:gd name="connsiteY19" fmla="*/ 738345 h 3032924"/>
                <a:gd name="connsiteX20" fmla="*/ 102477 w 3239999"/>
                <a:gd name="connsiteY20" fmla="*/ 738345 h 3032924"/>
                <a:gd name="connsiteX21" fmla="*/ 102477 w 3239999"/>
                <a:gd name="connsiteY21" fmla="*/ 428517 h 3032924"/>
                <a:gd name="connsiteX22" fmla="*/ 385229 w 3239999"/>
                <a:gd name="connsiteY22" fmla="*/ 430441 h 3032924"/>
                <a:gd name="connsiteX23" fmla="*/ 386326 w 3239999"/>
                <a:gd name="connsiteY23" fmla="*/ 91100 h 3032924"/>
                <a:gd name="connsiteX24" fmla="*/ 833935 w 3239999"/>
                <a:gd name="connsiteY24" fmla="*/ 22 h 3032924"/>
                <a:gd name="connsiteX25" fmla="*/ 1576606 w 3239999"/>
                <a:gd name="connsiteY25" fmla="*/ 402054 h 3032924"/>
                <a:gd name="connsiteX26" fmla="*/ 1576606 w 3239999"/>
                <a:gd name="connsiteY26" fmla="*/ 430441 h 3032924"/>
                <a:gd name="connsiteX27" fmla="*/ 1576606 w 3239999"/>
                <a:gd name="connsiteY27" fmla="*/ 526981 h 3032924"/>
                <a:gd name="connsiteX28" fmla="*/ 1576606 w 3239999"/>
                <a:gd name="connsiteY28" fmla="*/ 2765302 h 3032924"/>
                <a:gd name="connsiteX29" fmla="*/ 378630 w 3239999"/>
                <a:gd name="connsiteY29" fmla="*/ 2472117 h 3032924"/>
                <a:gd name="connsiteX30" fmla="*/ 384918 w 3239999"/>
                <a:gd name="connsiteY30" fmla="*/ 526981 h 3032924"/>
                <a:gd name="connsiteX31" fmla="*/ 239143 w 3239999"/>
                <a:gd name="connsiteY31" fmla="*/ 526981 h 3032924"/>
                <a:gd name="connsiteX32" fmla="*/ 239143 w 3239999"/>
                <a:gd name="connsiteY32" fmla="*/ 2776423 h 3032924"/>
                <a:gd name="connsiteX33" fmla="*/ 1576606 w 3239999"/>
                <a:gd name="connsiteY33" fmla="*/ 2776423 h 3032924"/>
                <a:gd name="connsiteX34" fmla="*/ 1668046 w 3239999"/>
                <a:gd name="connsiteY34" fmla="*/ 2869642 h 3032924"/>
                <a:gd name="connsiteX0" fmla="*/ 1576606 w 3239999"/>
                <a:gd name="connsiteY0" fmla="*/ 2778202 h 3032924"/>
                <a:gd name="connsiteX1" fmla="*/ 1663394 w 3239999"/>
                <a:gd name="connsiteY1" fmla="*/ 2778202 h 3032924"/>
                <a:gd name="connsiteX2" fmla="*/ 1663394 w 3239999"/>
                <a:gd name="connsiteY2" fmla="*/ 2776423 h 3032924"/>
                <a:gd name="connsiteX3" fmla="*/ 3000856 w 3239999"/>
                <a:gd name="connsiteY3" fmla="*/ 2776423 h 3032924"/>
                <a:gd name="connsiteX4" fmla="*/ 3000856 w 3239999"/>
                <a:gd name="connsiteY4" fmla="*/ 526981 h 3032924"/>
                <a:gd name="connsiteX5" fmla="*/ 2855082 w 3239999"/>
                <a:gd name="connsiteY5" fmla="*/ 526981 h 3032924"/>
                <a:gd name="connsiteX6" fmla="*/ 2861369 w 3239999"/>
                <a:gd name="connsiteY6" fmla="*/ 2472117 h 3032924"/>
                <a:gd name="connsiteX7" fmla="*/ 1663394 w 3239999"/>
                <a:gd name="connsiteY7" fmla="*/ 2765302 h 3032924"/>
                <a:gd name="connsiteX8" fmla="*/ 1663394 w 3239999"/>
                <a:gd name="connsiteY8" fmla="*/ 526981 h 3032924"/>
                <a:gd name="connsiteX9" fmla="*/ 1663394 w 3239999"/>
                <a:gd name="connsiteY9" fmla="*/ 430441 h 3032924"/>
                <a:gd name="connsiteX10" fmla="*/ 1663394 w 3239999"/>
                <a:gd name="connsiteY10" fmla="*/ 402054 h 3032924"/>
                <a:gd name="connsiteX11" fmla="*/ 2406065 w 3239999"/>
                <a:gd name="connsiteY11" fmla="*/ 22 h 3032924"/>
                <a:gd name="connsiteX12" fmla="*/ 2853673 w 3239999"/>
                <a:gd name="connsiteY12" fmla="*/ 91100 h 3032924"/>
                <a:gd name="connsiteX13" fmla="*/ 2854770 w 3239999"/>
                <a:gd name="connsiteY13" fmla="*/ 430441 h 3032924"/>
                <a:gd name="connsiteX14" fmla="*/ 3120669 w 3239999"/>
                <a:gd name="connsiteY14" fmla="*/ 428517 h 3032924"/>
                <a:gd name="connsiteX15" fmla="*/ 3120669 w 3239999"/>
                <a:gd name="connsiteY15" fmla="*/ 738345 h 3032924"/>
                <a:gd name="connsiteX16" fmla="*/ 3239999 w 3239999"/>
                <a:gd name="connsiteY16" fmla="*/ 738345 h 3032924"/>
                <a:gd name="connsiteX17" fmla="*/ 3239999 w 3239999"/>
                <a:gd name="connsiteY17" fmla="*/ 3032924 h 3032924"/>
                <a:gd name="connsiteX18" fmla="*/ 0 w 3239999"/>
                <a:gd name="connsiteY18" fmla="*/ 3032924 h 3032924"/>
                <a:gd name="connsiteX19" fmla="*/ 0 w 3239999"/>
                <a:gd name="connsiteY19" fmla="*/ 738345 h 3032924"/>
                <a:gd name="connsiteX20" fmla="*/ 102477 w 3239999"/>
                <a:gd name="connsiteY20" fmla="*/ 738345 h 3032924"/>
                <a:gd name="connsiteX21" fmla="*/ 102477 w 3239999"/>
                <a:gd name="connsiteY21" fmla="*/ 428517 h 3032924"/>
                <a:gd name="connsiteX22" fmla="*/ 385229 w 3239999"/>
                <a:gd name="connsiteY22" fmla="*/ 430441 h 3032924"/>
                <a:gd name="connsiteX23" fmla="*/ 386326 w 3239999"/>
                <a:gd name="connsiteY23" fmla="*/ 91100 h 3032924"/>
                <a:gd name="connsiteX24" fmla="*/ 833935 w 3239999"/>
                <a:gd name="connsiteY24" fmla="*/ 22 h 3032924"/>
                <a:gd name="connsiteX25" fmla="*/ 1576606 w 3239999"/>
                <a:gd name="connsiteY25" fmla="*/ 402054 h 3032924"/>
                <a:gd name="connsiteX26" fmla="*/ 1576606 w 3239999"/>
                <a:gd name="connsiteY26" fmla="*/ 430441 h 3032924"/>
                <a:gd name="connsiteX27" fmla="*/ 1576606 w 3239999"/>
                <a:gd name="connsiteY27" fmla="*/ 526981 h 3032924"/>
                <a:gd name="connsiteX28" fmla="*/ 1576606 w 3239999"/>
                <a:gd name="connsiteY28" fmla="*/ 2765302 h 3032924"/>
                <a:gd name="connsiteX29" fmla="*/ 378630 w 3239999"/>
                <a:gd name="connsiteY29" fmla="*/ 2472117 h 3032924"/>
                <a:gd name="connsiteX30" fmla="*/ 384918 w 3239999"/>
                <a:gd name="connsiteY30" fmla="*/ 526981 h 3032924"/>
                <a:gd name="connsiteX31" fmla="*/ 239143 w 3239999"/>
                <a:gd name="connsiteY31" fmla="*/ 526981 h 3032924"/>
                <a:gd name="connsiteX32" fmla="*/ 239143 w 3239999"/>
                <a:gd name="connsiteY32" fmla="*/ 2776423 h 3032924"/>
                <a:gd name="connsiteX33" fmla="*/ 1576606 w 3239999"/>
                <a:gd name="connsiteY33" fmla="*/ 2776423 h 3032924"/>
                <a:gd name="connsiteX34" fmla="*/ 1668046 w 3239999"/>
                <a:gd name="connsiteY34" fmla="*/ 2869642 h 3032924"/>
                <a:gd name="connsiteX0" fmla="*/ 1576606 w 3239999"/>
                <a:gd name="connsiteY0" fmla="*/ 2778202 h 3032924"/>
                <a:gd name="connsiteX1" fmla="*/ 1663394 w 3239999"/>
                <a:gd name="connsiteY1" fmla="*/ 2778202 h 3032924"/>
                <a:gd name="connsiteX2" fmla="*/ 1663394 w 3239999"/>
                <a:gd name="connsiteY2" fmla="*/ 2776423 h 3032924"/>
                <a:gd name="connsiteX3" fmla="*/ 3000856 w 3239999"/>
                <a:gd name="connsiteY3" fmla="*/ 2776423 h 3032924"/>
                <a:gd name="connsiteX4" fmla="*/ 3000856 w 3239999"/>
                <a:gd name="connsiteY4" fmla="*/ 526981 h 3032924"/>
                <a:gd name="connsiteX5" fmla="*/ 2855082 w 3239999"/>
                <a:gd name="connsiteY5" fmla="*/ 526981 h 3032924"/>
                <a:gd name="connsiteX6" fmla="*/ 2861369 w 3239999"/>
                <a:gd name="connsiteY6" fmla="*/ 2472117 h 3032924"/>
                <a:gd name="connsiteX7" fmla="*/ 1663394 w 3239999"/>
                <a:gd name="connsiteY7" fmla="*/ 2765302 h 3032924"/>
                <a:gd name="connsiteX8" fmla="*/ 1663394 w 3239999"/>
                <a:gd name="connsiteY8" fmla="*/ 526981 h 3032924"/>
                <a:gd name="connsiteX9" fmla="*/ 1663394 w 3239999"/>
                <a:gd name="connsiteY9" fmla="*/ 430441 h 3032924"/>
                <a:gd name="connsiteX10" fmla="*/ 1663394 w 3239999"/>
                <a:gd name="connsiteY10" fmla="*/ 402054 h 3032924"/>
                <a:gd name="connsiteX11" fmla="*/ 2406065 w 3239999"/>
                <a:gd name="connsiteY11" fmla="*/ 22 h 3032924"/>
                <a:gd name="connsiteX12" fmla="*/ 2853673 w 3239999"/>
                <a:gd name="connsiteY12" fmla="*/ 91100 h 3032924"/>
                <a:gd name="connsiteX13" fmla="*/ 2854770 w 3239999"/>
                <a:gd name="connsiteY13" fmla="*/ 430441 h 3032924"/>
                <a:gd name="connsiteX14" fmla="*/ 3120669 w 3239999"/>
                <a:gd name="connsiteY14" fmla="*/ 428517 h 3032924"/>
                <a:gd name="connsiteX15" fmla="*/ 3120669 w 3239999"/>
                <a:gd name="connsiteY15" fmla="*/ 738345 h 3032924"/>
                <a:gd name="connsiteX16" fmla="*/ 3239999 w 3239999"/>
                <a:gd name="connsiteY16" fmla="*/ 738345 h 3032924"/>
                <a:gd name="connsiteX17" fmla="*/ 3239999 w 3239999"/>
                <a:gd name="connsiteY17" fmla="*/ 3032924 h 3032924"/>
                <a:gd name="connsiteX18" fmla="*/ 0 w 3239999"/>
                <a:gd name="connsiteY18" fmla="*/ 3032924 h 3032924"/>
                <a:gd name="connsiteX19" fmla="*/ 0 w 3239999"/>
                <a:gd name="connsiteY19" fmla="*/ 738345 h 3032924"/>
                <a:gd name="connsiteX20" fmla="*/ 102477 w 3239999"/>
                <a:gd name="connsiteY20" fmla="*/ 738345 h 3032924"/>
                <a:gd name="connsiteX21" fmla="*/ 102477 w 3239999"/>
                <a:gd name="connsiteY21" fmla="*/ 428517 h 3032924"/>
                <a:gd name="connsiteX22" fmla="*/ 385229 w 3239999"/>
                <a:gd name="connsiteY22" fmla="*/ 430441 h 3032924"/>
                <a:gd name="connsiteX23" fmla="*/ 386326 w 3239999"/>
                <a:gd name="connsiteY23" fmla="*/ 91100 h 3032924"/>
                <a:gd name="connsiteX24" fmla="*/ 833935 w 3239999"/>
                <a:gd name="connsiteY24" fmla="*/ 22 h 3032924"/>
                <a:gd name="connsiteX25" fmla="*/ 1576606 w 3239999"/>
                <a:gd name="connsiteY25" fmla="*/ 402054 h 3032924"/>
                <a:gd name="connsiteX26" fmla="*/ 1576606 w 3239999"/>
                <a:gd name="connsiteY26" fmla="*/ 430441 h 3032924"/>
                <a:gd name="connsiteX27" fmla="*/ 1576606 w 3239999"/>
                <a:gd name="connsiteY27" fmla="*/ 526981 h 3032924"/>
                <a:gd name="connsiteX28" fmla="*/ 1576606 w 3239999"/>
                <a:gd name="connsiteY28" fmla="*/ 2765302 h 3032924"/>
                <a:gd name="connsiteX29" fmla="*/ 378630 w 3239999"/>
                <a:gd name="connsiteY29" fmla="*/ 2472117 h 3032924"/>
                <a:gd name="connsiteX30" fmla="*/ 384918 w 3239999"/>
                <a:gd name="connsiteY30" fmla="*/ 526981 h 3032924"/>
                <a:gd name="connsiteX31" fmla="*/ 239143 w 3239999"/>
                <a:gd name="connsiteY31" fmla="*/ 526981 h 3032924"/>
                <a:gd name="connsiteX32" fmla="*/ 239143 w 3239999"/>
                <a:gd name="connsiteY32" fmla="*/ 2776423 h 3032924"/>
                <a:gd name="connsiteX33" fmla="*/ 1576606 w 3239999"/>
                <a:gd name="connsiteY33" fmla="*/ 2776423 h 3032924"/>
                <a:gd name="connsiteX34" fmla="*/ 1668046 w 3239999"/>
                <a:gd name="connsiteY34" fmla="*/ 2869642 h 3032924"/>
                <a:gd name="connsiteX0" fmla="*/ 1576606 w 3239999"/>
                <a:gd name="connsiteY0" fmla="*/ 2778202 h 3032924"/>
                <a:gd name="connsiteX1" fmla="*/ 1663394 w 3239999"/>
                <a:gd name="connsiteY1" fmla="*/ 2778202 h 3032924"/>
                <a:gd name="connsiteX2" fmla="*/ 1663394 w 3239999"/>
                <a:gd name="connsiteY2" fmla="*/ 2776423 h 3032924"/>
                <a:gd name="connsiteX3" fmla="*/ 3000856 w 3239999"/>
                <a:gd name="connsiteY3" fmla="*/ 2776423 h 3032924"/>
                <a:gd name="connsiteX4" fmla="*/ 3000856 w 3239999"/>
                <a:gd name="connsiteY4" fmla="*/ 526981 h 3032924"/>
                <a:gd name="connsiteX5" fmla="*/ 2855082 w 3239999"/>
                <a:gd name="connsiteY5" fmla="*/ 526981 h 3032924"/>
                <a:gd name="connsiteX6" fmla="*/ 2861369 w 3239999"/>
                <a:gd name="connsiteY6" fmla="*/ 2472117 h 3032924"/>
                <a:gd name="connsiteX7" fmla="*/ 1663394 w 3239999"/>
                <a:gd name="connsiteY7" fmla="*/ 2765302 h 3032924"/>
                <a:gd name="connsiteX8" fmla="*/ 1663394 w 3239999"/>
                <a:gd name="connsiteY8" fmla="*/ 526981 h 3032924"/>
                <a:gd name="connsiteX9" fmla="*/ 1663394 w 3239999"/>
                <a:gd name="connsiteY9" fmla="*/ 430441 h 3032924"/>
                <a:gd name="connsiteX10" fmla="*/ 1663394 w 3239999"/>
                <a:gd name="connsiteY10" fmla="*/ 402054 h 3032924"/>
                <a:gd name="connsiteX11" fmla="*/ 2406065 w 3239999"/>
                <a:gd name="connsiteY11" fmla="*/ 22 h 3032924"/>
                <a:gd name="connsiteX12" fmla="*/ 2853673 w 3239999"/>
                <a:gd name="connsiteY12" fmla="*/ 91100 h 3032924"/>
                <a:gd name="connsiteX13" fmla="*/ 2854770 w 3239999"/>
                <a:gd name="connsiteY13" fmla="*/ 430441 h 3032924"/>
                <a:gd name="connsiteX14" fmla="*/ 3120669 w 3239999"/>
                <a:gd name="connsiteY14" fmla="*/ 428517 h 3032924"/>
                <a:gd name="connsiteX15" fmla="*/ 3120669 w 3239999"/>
                <a:gd name="connsiteY15" fmla="*/ 738345 h 3032924"/>
                <a:gd name="connsiteX16" fmla="*/ 3239999 w 3239999"/>
                <a:gd name="connsiteY16" fmla="*/ 738345 h 3032924"/>
                <a:gd name="connsiteX17" fmla="*/ 3239999 w 3239999"/>
                <a:gd name="connsiteY17" fmla="*/ 3032924 h 3032924"/>
                <a:gd name="connsiteX18" fmla="*/ 0 w 3239999"/>
                <a:gd name="connsiteY18" fmla="*/ 3032924 h 3032924"/>
                <a:gd name="connsiteX19" fmla="*/ 0 w 3239999"/>
                <a:gd name="connsiteY19" fmla="*/ 738345 h 3032924"/>
                <a:gd name="connsiteX20" fmla="*/ 102477 w 3239999"/>
                <a:gd name="connsiteY20" fmla="*/ 738345 h 3032924"/>
                <a:gd name="connsiteX21" fmla="*/ 102477 w 3239999"/>
                <a:gd name="connsiteY21" fmla="*/ 428517 h 3032924"/>
                <a:gd name="connsiteX22" fmla="*/ 385229 w 3239999"/>
                <a:gd name="connsiteY22" fmla="*/ 430441 h 3032924"/>
                <a:gd name="connsiteX23" fmla="*/ 386326 w 3239999"/>
                <a:gd name="connsiteY23" fmla="*/ 91100 h 3032924"/>
                <a:gd name="connsiteX24" fmla="*/ 833935 w 3239999"/>
                <a:gd name="connsiteY24" fmla="*/ 22 h 3032924"/>
                <a:gd name="connsiteX25" fmla="*/ 1576606 w 3239999"/>
                <a:gd name="connsiteY25" fmla="*/ 402054 h 3032924"/>
                <a:gd name="connsiteX26" fmla="*/ 1576606 w 3239999"/>
                <a:gd name="connsiteY26" fmla="*/ 430441 h 3032924"/>
                <a:gd name="connsiteX27" fmla="*/ 1576606 w 3239999"/>
                <a:gd name="connsiteY27" fmla="*/ 526981 h 3032924"/>
                <a:gd name="connsiteX28" fmla="*/ 1576606 w 3239999"/>
                <a:gd name="connsiteY28" fmla="*/ 2765302 h 3032924"/>
                <a:gd name="connsiteX29" fmla="*/ 378630 w 3239999"/>
                <a:gd name="connsiteY29" fmla="*/ 2472117 h 3032924"/>
                <a:gd name="connsiteX30" fmla="*/ 384918 w 3239999"/>
                <a:gd name="connsiteY30" fmla="*/ 526981 h 3032924"/>
                <a:gd name="connsiteX31" fmla="*/ 239143 w 3239999"/>
                <a:gd name="connsiteY31" fmla="*/ 526981 h 3032924"/>
                <a:gd name="connsiteX32" fmla="*/ 239143 w 3239999"/>
                <a:gd name="connsiteY32" fmla="*/ 2776423 h 3032924"/>
                <a:gd name="connsiteX33" fmla="*/ 1576606 w 3239999"/>
                <a:gd name="connsiteY33" fmla="*/ 2776423 h 3032924"/>
                <a:gd name="connsiteX34" fmla="*/ 1668046 w 3239999"/>
                <a:gd name="connsiteY34" fmla="*/ 2869642 h 3032924"/>
                <a:gd name="connsiteX0" fmla="*/ 1576606 w 3239999"/>
                <a:gd name="connsiteY0" fmla="*/ 2778202 h 3032924"/>
                <a:gd name="connsiteX1" fmla="*/ 1663394 w 3239999"/>
                <a:gd name="connsiteY1" fmla="*/ 2778202 h 3032924"/>
                <a:gd name="connsiteX2" fmla="*/ 1663394 w 3239999"/>
                <a:gd name="connsiteY2" fmla="*/ 2776423 h 3032924"/>
                <a:gd name="connsiteX3" fmla="*/ 3000856 w 3239999"/>
                <a:gd name="connsiteY3" fmla="*/ 2776423 h 3032924"/>
                <a:gd name="connsiteX4" fmla="*/ 3000856 w 3239999"/>
                <a:gd name="connsiteY4" fmla="*/ 526981 h 3032924"/>
                <a:gd name="connsiteX5" fmla="*/ 2855082 w 3239999"/>
                <a:gd name="connsiteY5" fmla="*/ 526981 h 3032924"/>
                <a:gd name="connsiteX6" fmla="*/ 2861369 w 3239999"/>
                <a:gd name="connsiteY6" fmla="*/ 2472117 h 3032924"/>
                <a:gd name="connsiteX7" fmla="*/ 1663394 w 3239999"/>
                <a:gd name="connsiteY7" fmla="*/ 2765302 h 3032924"/>
                <a:gd name="connsiteX8" fmla="*/ 1663394 w 3239999"/>
                <a:gd name="connsiteY8" fmla="*/ 526981 h 3032924"/>
                <a:gd name="connsiteX9" fmla="*/ 1663394 w 3239999"/>
                <a:gd name="connsiteY9" fmla="*/ 430441 h 3032924"/>
                <a:gd name="connsiteX10" fmla="*/ 1663394 w 3239999"/>
                <a:gd name="connsiteY10" fmla="*/ 402054 h 3032924"/>
                <a:gd name="connsiteX11" fmla="*/ 2406065 w 3239999"/>
                <a:gd name="connsiteY11" fmla="*/ 22 h 3032924"/>
                <a:gd name="connsiteX12" fmla="*/ 2853673 w 3239999"/>
                <a:gd name="connsiteY12" fmla="*/ 91100 h 3032924"/>
                <a:gd name="connsiteX13" fmla="*/ 2854770 w 3239999"/>
                <a:gd name="connsiteY13" fmla="*/ 430441 h 3032924"/>
                <a:gd name="connsiteX14" fmla="*/ 3120669 w 3239999"/>
                <a:gd name="connsiteY14" fmla="*/ 428517 h 3032924"/>
                <a:gd name="connsiteX15" fmla="*/ 3120669 w 3239999"/>
                <a:gd name="connsiteY15" fmla="*/ 738345 h 3032924"/>
                <a:gd name="connsiteX16" fmla="*/ 3239999 w 3239999"/>
                <a:gd name="connsiteY16" fmla="*/ 738345 h 3032924"/>
                <a:gd name="connsiteX17" fmla="*/ 3239999 w 3239999"/>
                <a:gd name="connsiteY17" fmla="*/ 3032924 h 3032924"/>
                <a:gd name="connsiteX18" fmla="*/ 0 w 3239999"/>
                <a:gd name="connsiteY18" fmla="*/ 3032924 h 3032924"/>
                <a:gd name="connsiteX19" fmla="*/ 0 w 3239999"/>
                <a:gd name="connsiteY19" fmla="*/ 738345 h 3032924"/>
                <a:gd name="connsiteX20" fmla="*/ 102477 w 3239999"/>
                <a:gd name="connsiteY20" fmla="*/ 738345 h 3032924"/>
                <a:gd name="connsiteX21" fmla="*/ 102477 w 3239999"/>
                <a:gd name="connsiteY21" fmla="*/ 428517 h 3032924"/>
                <a:gd name="connsiteX22" fmla="*/ 385229 w 3239999"/>
                <a:gd name="connsiteY22" fmla="*/ 430441 h 3032924"/>
                <a:gd name="connsiteX23" fmla="*/ 386326 w 3239999"/>
                <a:gd name="connsiteY23" fmla="*/ 91100 h 3032924"/>
                <a:gd name="connsiteX24" fmla="*/ 833935 w 3239999"/>
                <a:gd name="connsiteY24" fmla="*/ 22 h 3032924"/>
                <a:gd name="connsiteX25" fmla="*/ 1576606 w 3239999"/>
                <a:gd name="connsiteY25" fmla="*/ 402054 h 3032924"/>
                <a:gd name="connsiteX26" fmla="*/ 1576606 w 3239999"/>
                <a:gd name="connsiteY26" fmla="*/ 430441 h 3032924"/>
                <a:gd name="connsiteX27" fmla="*/ 1576606 w 3239999"/>
                <a:gd name="connsiteY27" fmla="*/ 526981 h 3032924"/>
                <a:gd name="connsiteX28" fmla="*/ 1576606 w 3239999"/>
                <a:gd name="connsiteY28" fmla="*/ 2765302 h 3032924"/>
                <a:gd name="connsiteX29" fmla="*/ 378630 w 3239999"/>
                <a:gd name="connsiteY29" fmla="*/ 2472117 h 3032924"/>
                <a:gd name="connsiteX30" fmla="*/ 384918 w 3239999"/>
                <a:gd name="connsiteY30" fmla="*/ 526981 h 3032924"/>
                <a:gd name="connsiteX31" fmla="*/ 239143 w 3239999"/>
                <a:gd name="connsiteY31" fmla="*/ 526981 h 3032924"/>
                <a:gd name="connsiteX32" fmla="*/ 239143 w 3239999"/>
                <a:gd name="connsiteY32" fmla="*/ 2776423 h 3032924"/>
                <a:gd name="connsiteX33" fmla="*/ 1576606 w 3239999"/>
                <a:gd name="connsiteY33" fmla="*/ 2776423 h 3032924"/>
                <a:gd name="connsiteX34" fmla="*/ 1668046 w 3239999"/>
                <a:gd name="connsiteY34" fmla="*/ 2869642 h 3032924"/>
                <a:gd name="connsiteX0" fmla="*/ 1576606 w 3239999"/>
                <a:gd name="connsiteY0" fmla="*/ 2778202 h 3032924"/>
                <a:gd name="connsiteX1" fmla="*/ 1663394 w 3239999"/>
                <a:gd name="connsiteY1" fmla="*/ 2778202 h 3032924"/>
                <a:gd name="connsiteX2" fmla="*/ 1663394 w 3239999"/>
                <a:gd name="connsiteY2" fmla="*/ 2776423 h 3032924"/>
                <a:gd name="connsiteX3" fmla="*/ 3000856 w 3239999"/>
                <a:gd name="connsiteY3" fmla="*/ 2776423 h 3032924"/>
                <a:gd name="connsiteX4" fmla="*/ 3000856 w 3239999"/>
                <a:gd name="connsiteY4" fmla="*/ 526981 h 3032924"/>
                <a:gd name="connsiteX5" fmla="*/ 2855082 w 3239999"/>
                <a:gd name="connsiteY5" fmla="*/ 526981 h 3032924"/>
                <a:gd name="connsiteX6" fmla="*/ 2861369 w 3239999"/>
                <a:gd name="connsiteY6" fmla="*/ 2472117 h 3032924"/>
                <a:gd name="connsiteX7" fmla="*/ 1663394 w 3239999"/>
                <a:gd name="connsiteY7" fmla="*/ 2765302 h 3032924"/>
                <a:gd name="connsiteX8" fmla="*/ 1663394 w 3239999"/>
                <a:gd name="connsiteY8" fmla="*/ 526981 h 3032924"/>
                <a:gd name="connsiteX9" fmla="*/ 1663394 w 3239999"/>
                <a:gd name="connsiteY9" fmla="*/ 430441 h 3032924"/>
                <a:gd name="connsiteX10" fmla="*/ 1663394 w 3239999"/>
                <a:gd name="connsiteY10" fmla="*/ 402054 h 3032924"/>
                <a:gd name="connsiteX11" fmla="*/ 2406065 w 3239999"/>
                <a:gd name="connsiteY11" fmla="*/ 22 h 3032924"/>
                <a:gd name="connsiteX12" fmla="*/ 2853673 w 3239999"/>
                <a:gd name="connsiteY12" fmla="*/ 91100 h 3032924"/>
                <a:gd name="connsiteX13" fmla="*/ 2854770 w 3239999"/>
                <a:gd name="connsiteY13" fmla="*/ 430441 h 3032924"/>
                <a:gd name="connsiteX14" fmla="*/ 3120669 w 3239999"/>
                <a:gd name="connsiteY14" fmla="*/ 428517 h 3032924"/>
                <a:gd name="connsiteX15" fmla="*/ 3120669 w 3239999"/>
                <a:gd name="connsiteY15" fmla="*/ 738345 h 3032924"/>
                <a:gd name="connsiteX16" fmla="*/ 3239999 w 3239999"/>
                <a:gd name="connsiteY16" fmla="*/ 738345 h 3032924"/>
                <a:gd name="connsiteX17" fmla="*/ 3239999 w 3239999"/>
                <a:gd name="connsiteY17" fmla="*/ 3032924 h 3032924"/>
                <a:gd name="connsiteX18" fmla="*/ 0 w 3239999"/>
                <a:gd name="connsiteY18" fmla="*/ 3032924 h 3032924"/>
                <a:gd name="connsiteX19" fmla="*/ 0 w 3239999"/>
                <a:gd name="connsiteY19" fmla="*/ 738345 h 3032924"/>
                <a:gd name="connsiteX20" fmla="*/ 102477 w 3239999"/>
                <a:gd name="connsiteY20" fmla="*/ 738345 h 3032924"/>
                <a:gd name="connsiteX21" fmla="*/ 102477 w 3239999"/>
                <a:gd name="connsiteY21" fmla="*/ 428517 h 3032924"/>
                <a:gd name="connsiteX22" fmla="*/ 385229 w 3239999"/>
                <a:gd name="connsiteY22" fmla="*/ 430441 h 3032924"/>
                <a:gd name="connsiteX23" fmla="*/ 386326 w 3239999"/>
                <a:gd name="connsiteY23" fmla="*/ 91100 h 3032924"/>
                <a:gd name="connsiteX24" fmla="*/ 833935 w 3239999"/>
                <a:gd name="connsiteY24" fmla="*/ 22 h 3032924"/>
                <a:gd name="connsiteX25" fmla="*/ 1576606 w 3239999"/>
                <a:gd name="connsiteY25" fmla="*/ 402054 h 3032924"/>
                <a:gd name="connsiteX26" fmla="*/ 1576606 w 3239999"/>
                <a:gd name="connsiteY26" fmla="*/ 430441 h 3032924"/>
                <a:gd name="connsiteX27" fmla="*/ 1576606 w 3239999"/>
                <a:gd name="connsiteY27" fmla="*/ 526981 h 3032924"/>
                <a:gd name="connsiteX28" fmla="*/ 1576606 w 3239999"/>
                <a:gd name="connsiteY28" fmla="*/ 2765302 h 3032924"/>
                <a:gd name="connsiteX29" fmla="*/ 378630 w 3239999"/>
                <a:gd name="connsiteY29" fmla="*/ 2472117 h 3032924"/>
                <a:gd name="connsiteX30" fmla="*/ 384918 w 3239999"/>
                <a:gd name="connsiteY30" fmla="*/ 526981 h 3032924"/>
                <a:gd name="connsiteX31" fmla="*/ 239143 w 3239999"/>
                <a:gd name="connsiteY31" fmla="*/ 526981 h 3032924"/>
                <a:gd name="connsiteX32" fmla="*/ 239143 w 3239999"/>
                <a:gd name="connsiteY32" fmla="*/ 2776423 h 3032924"/>
                <a:gd name="connsiteX33" fmla="*/ 1576606 w 3239999"/>
                <a:gd name="connsiteY33" fmla="*/ 2776423 h 3032924"/>
                <a:gd name="connsiteX34" fmla="*/ 1668046 w 3239999"/>
                <a:gd name="connsiteY34" fmla="*/ 2869642 h 3032924"/>
                <a:gd name="connsiteX0" fmla="*/ 1576606 w 3239999"/>
                <a:gd name="connsiteY0" fmla="*/ 2778202 h 3032924"/>
                <a:gd name="connsiteX1" fmla="*/ 1663394 w 3239999"/>
                <a:gd name="connsiteY1" fmla="*/ 2778202 h 3032924"/>
                <a:gd name="connsiteX2" fmla="*/ 1663394 w 3239999"/>
                <a:gd name="connsiteY2" fmla="*/ 2776423 h 3032924"/>
                <a:gd name="connsiteX3" fmla="*/ 3000856 w 3239999"/>
                <a:gd name="connsiteY3" fmla="*/ 2776423 h 3032924"/>
                <a:gd name="connsiteX4" fmla="*/ 3000856 w 3239999"/>
                <a:gd name="connsiteY4" fmla="*/ 526981 h 3032924"/>
                <a:gd name="connsiteX5" fmla="*/ 2855082 w 3239999"/>
                <a:gd name="connsiteY5" fmla="*/ 526981 h 3032924"/>
                <a:gd name="connsiteX6" fmla="*/ 2861369 w 3239999"/>
                <a:gd name="connsiteY6" fmla="*/ 2472117 h 3032924"/>
                <a:gd name="connsiteX7" fmla="*/ 1663394 w 3239999"/>
                <a:gd name="connsiteY7" fmla="*/ 2765302 h 3032924"/>
                <a:gd name="connsiteX8" fmla="*/ 1663394 w 3239999"/>
                <a:gd name="connsiteY8" fmla="*/ 526981 h 3032924"/>
                <a:gd name="connsiteX9" fmla="*/ 1663394 w 3239999"/>
                <a:gd name="connsiteY9" fmla="*/ 430441 h 3032924"/>
                <a:gd name="connsiteX10" fmla="*/ 1663394 w 3239999"/>
                <a:gd name="connsiteY10" fmla="*/ 402054 h 3032924"/>
                <a:gd name="connsiteX11" fmla="*/ 2406065 w 3239999"/>
                <a:gd name="connsiteY11" fmla="*/ 22 h 3032924"/>
                <a:gd name="connsiteX12" fmla="*/ 2853673 w 3239999"/>
                <a:gd name="connsiteY12" fmla="*/ 91100 h 3032924"/>
                <a:gd name="connsiteX13" fmla="*/ 2854770 w 3239999"/>
                <a:gd name="connsiteY13" fmla="*/ 430441 h 3032924"/>
                <a:gd name="connsiteX14" fmla="*/ 3120669 w 3239999"/>
                <a:gd name="connsiteY14" fmla="*/ 428517 h 3032924"/>
                <a:gd name="connsiteX15" fmla="*/ 3120669 w 3239999"/>
                <a:gd name="connsiteY15" fmla="*/ 738345 h 3032924"/>
                <a:gd name="connsiteX16" fmla="*/ 3239999 w 3239999"/>
                <a:gd name="connsiteY16" fmla="*/ 738345 h 3032924"/>
                <a:gd name="connsiteX17" fmla="*/ 3239999 w 3239999"/>
                <a:gd name="connsiteY17" fmla="*/ 3032924 h 3032924"/>
                <a:gd name="connsiteX18" fmla="*/ 0 w 3239999"/>
                <a:gd name="connsiteY18" fmla="*/ 3032924 h 3032924"/>
                <a:gd name="connsiteX19" fmla="*/ 0 w 3239999"/>
                <a:gd name="connsiteY19" fmla="*/ 738345 h 3032924"/>
                <a:gd name="connsiteX20" fmla="*/ 102477 w 3239999"/>
                <a:gd name="connsiteY20" fmla="*/ 738345 h 3032924"/>
                <a:gd name="connsiteX21" fmla="*/ 102477 w 3239999"/>
                <a:gd name="connsiteY21" fmla="*/ 428517 h 3032924"/>
                <a:gd name="connsiteX22" fmla="*/ 385229 w 3239999"/>
                <a:gd name="connsiteY22" fmla="*/ 430441 h 3032924"/>
                <a:gd name="connsiteX23" fmla="*/ 386326 w 3239999"/>
                <a:gd name="connsiteY23" fmla="*/ 91100 h 3032924"/>
                <a:gd name="connsiteX24" fmla="*/ 833935 w 3239999"/>
                <a:gd name="connsiteY24" fmla="*/ 22 h 3032924"/>
                <a:gd name="connsiteX25" fmla="*/ 1576606 w 3239999"/>
                <a:gd name="connsiteY25" fmla="*/ 402054 h 3032924"/>
                <a:gd name="connsiteX26" fmla="*/ 1576606 w 3239999"/>
                <a:gd name="connsiteY26" fmla="*/ 430441 h 3032924"/>
                <a:gd name="connsiteX27" fmla="*/ 1576606 w 3239999"/>
                <a:gd name="connsiteY27" fmla="*/ 526981 h 3032924"/>
                <a:gd name="connsiteX28" fmla="*/ 1576606 w 3239999"/>
                <a:gd name="connsiteY28" fmla="*/ 2765302 h 3032924"/>
                <a:gd name="connsiteX29" fmla="*/ 378630 w 3239999"/>
                <a:gd name="connsiteY29" fmla="*/ 2472117 h 3032924"/>
                <a:gd name="connsiteX30" fmla="*/ 384918 w 3239999"/>
                <a:gd name="connsiteY30" fmla="*/ 526981 h 3032924"/>
                <a:gd name="connsiteX31" fmla="*/ 239143 w 3239999"/>
                <a:gd name="connsiteY31" fmla="*/ 526981 h 3032924"/>
                <a:gd name="connsiteX32" fmla="*/ 239143 w 3239999"/>
                <a:gd name="connsiteY32" fmla="*/ 2776423 h 3032924"/>
                <a:gd name="connsiteX33" fmla="*/ 1576606 w 3239999"/>
                <a:gd name="connsiteY33" fmla="*/ 2776423 h 3032924"/>
                <a:gd name="connsiteX34" fmla="*/ 1668046 w 3239999"/>
                <a:gd name="connsiteY34" fmla="*/ 2869642 h 3032924"/>
                <a:gd name="connsiteX0" fmla="*/ 1576606 w 3239999"/>
                <a:gd name="connsiteY0" fmla="*/ 2778202 h 3032924"/>
                <a:gd name="connsiteX1" fmla="*/ 1663394 w 3239999"/>
                <a:gd name="connsiteY1" fmla="*/ 2778202 h 3032924"/>
                <a:gd name="connsiteX2" fmla="*/ 1663394 w 3239999"/>
                <a:gd name="connsiteY2" fmla="*/ 2776423 h 3032924"/>
                <a:gd name="connsiteX3" fmla="*/ 3000856 w 3239999"/>
                <a:gd name="connsiteY3" fmla="*/ 2776423 h 3032924"/>
                <a:gd name="connsiteX4" fmla="*/ 3000856 w 3239999"/>
                <a:gd name="connsiteY4" fmla="*/ 526981 h 3032924"/>
                <a:gd name="connsiteX5" fmla="*/ 2855082 w 3239999"/>
                <a:gd name="connsiteY5" fmla="*/ 526981 h 3032924"/>
                <a:gd name="connsiteX6" fmla="*/ 2861369 w 3239999"/>
                <a:gd name="connsiteY6" fmla="*/ 2472117 h 3032924"/>
                <a:gd name="connsiteX7" fmla="*/ 1663394 w 3239999"/>
                <a:gd name="connsiteY7" fmla="*/ 2765302 h 3032924"/>
                <a:gd name="connsiteX8" fmla="*/ 1663394 w 3239999"/>
                <a:gd name="connsiteY8" fmla="*/ 526981 h 3032924"/>
                <a:gd name="connsiteX9" fmla="*/ 1663394 w 3239999"/>
                <a:gd name="connsiteY9" fmla="*/ 430441 h 3032924"/>
                <a:gd name="connsiteX10" fmla="*/ 1663394 w 3239999"/>
                <a:gd name="connsiteY10" fmla="*/ 402054 h 3032924"/>
                <a:gd name="connsiteX11" fmla="*/ 2406065 w 3239999"/>
                <a:gd name="connsiteY11" fmla="*/ 22 h 3032924"/>
                <a:gd name="connsiteX12" fmla="*/ 2853673 w 3239999"/>
                <a:gd name="connsiteY12" fmla="*/ 91100 h 3032924"/>
                <a:gd name="connsiteX13" fmla="*/ 2854770 w 3239999"/>
                <a:gd name="connsiteY13" fmla="*/ 430441 h 3032924"/>
                <a:gd name="connsiteX14" fmla="*/ 3120669 w 3239999"/>
                <a:gd name="connsiteY14" fmla="*/ 428517 h 3032924"/>
                <a:gd name="connsiteX15" fmla="*/ 3120669 w 3239999"/>
                <a:gd name="connsiteY15" fmla="*/ 738345 h 3032924"/>
                <a:gd name="connsiteX16" fmla="*/ 3239999 w 3239999"/>
                <a:gd name="connsiteY16" fmla="*/ 738345 h 3032924"/>
                <a:gd name="connsiteX17" fmla="*/ 3239999 w 3239999"/>
                <a:gd name="connsiteY17" fmla="*/ 3032924 h 3032924"/>
                <a:gd name="connsiteX18" fmla="*/ 0 w 3239999"/>
                <a:gd name="connsiteY18" fmla="*/ 3032924 h 3032924"/>
                <a:gd name="connsiteX19" fmla="*/ 0 w 3239999"/>
                <a:gd name="connsiteY19" fmla="*/ 738345 h 3032924"/>
                <a:gd name="connsiteX20" fmla="*/ 102477 w 3239999"/>
                <a:gd name="connsiteY20" fmla="*/ 738345 h 3032924"/>
                <a:gd name="connsiteX21" fmla="*/ 102477 w 3239999"/>
                <a:gd name="connsiteY21" fmla="*/ 428517 h 3032924"/>
                <a:gd name="connsiteX22" fmla="*/ 385229 w 3239999"/>
                <a:gd name="connsiteY22" fmla="*/ 430441 h 3032924"/>
                <a:gd name="connsiteX23" fmla="*/ 386326 w 3239999"/>
                <a:gd name="connsiteY23" fmla="*/ 91100 h 3032924"/>
                <a:gd name="connsiteX24" fmla="*/ 833935 w 3239999"/>
                <a:gd name="connsiteY24" fmla="*/ 22 h 3032924"/>
                <a:gd name="connsiteX25" fmla="*/ 1576606 w 3239999"/>
                <a:gd name="connsiteY25" fmla="*/ 402054 h 3032924"/>
                <a:gd name="connsiteX26" fmla="*/ 1576606 w 3239999"/>
                <a:gd name="connsiteY26" fmla="*/ 430441 h 3032924"/>
                <a:gd name="connsiteX27" fmla="*/ 1576606 w 3239999"/>
                <a:gd name="connsiteY27" fmla="*/ 526981 h 3032924"/>
                <a:gd name="connsiteX28" fmla="*/ 1576606 w 3239999"/>
                <a:gd name="connsiteY28" fmla="*/ 2765302 h 3032924"/>
                <a:gd name="connsiteX29" fmla="*/ 378630 w 3239999"/>
                <a:gd name="connsiteY29" fmla="*/ 2472117 h 3032924"/>
                <a:gd name="connsiteX30" fmla="*/ 384918 w 3239999"/>
                <a:gd name="connsiteY30" fmla="*/ 526981 h 3032924"/>
                <a:gd name="connsiteX31" fmla="*/ 239143 w 3239999"/>
                <a:gd name="connsiteY31" fmla="*/ 526981 h 3032924"/>
                <a:gd name="connsiteX32" fmla="*/ 239143 w 3239999"/>
                <a:gd name="connsiteY32" fmla="*/ 2776423 h 3032924"/>
                <a:gd name="connsiteX33" fmla="*/ 1576606 w 3239999"/>
                <a:gd name="connsiteY33" fmla="*/ 2776423 h 3032924"/>
                <a:gd name="connsiteX34" fmla="*/ 1668046 w 3239999"/>
                <a:gd name="connsiteY34" fmla="*/ 2869642 h 3032924"/>
                <a:gd name="connsiteX0" fmla="*/ 1576606 w 3239999"/>
                <a:gd name="connsiteY0" fmla="*/ 2778202 h 3032924"/>
                <a:gd name="connsiteX1" fmla="*/ 1663394 w 3239999"/>
                <a:gd name="connsiteY1" fmla="*/ 2778202 h 3032924"/>
                <a:gd name="connsiteX2" fmla="*/ 1663394 w 3239999"/>
                <a:gd name="connsiteY2" fmla="*/ 2776423 h 3032924"/>
                <a:gd name="connsiteX3" fmla="*/ 3000856 w 3239999"/>
                <a:gd name="connsiteY3" fmla="*/ 2776423 h 3032924"/>
                <a:gd name="connsiteX4" fmla="*/ 3000856 w 3239999"/>
                <a:gd name="connsiteY4" fmla="*/ 526981 h 3032924"/>
                <a:gd name="connsiteX5" fmla="*/ 2855082 w 3239999"/>
                <a:gd name="connsiteY5" fmla="*/ 526981 h 3032924"/>
                <a:gd name="connsiteX6" fmla="*/ 2861369 w 3239999"/>
                <a:gd name="connsiteY6" fmla="*/ 2472117 h 3032924"/>
                <a:gd name="connsiteX7" fmla="*/ 1663394 w 3239999"/>
                <a:gd name="connsiteY7" fmla="*/ 2765302 h 3032924"/>
                <a:gd name="connsiteX8" fmla="*/ 1663394 w 3239999"/>
                <a:gd name="connsiteY8" fmla="*/ 526981 h 3032924"/>
                <a:gd name="connsiteX9" fmla="*/ 1663394 w 3239999"/>
                <a:gd name="connsiteY9" fmla="*/ 430441 h 3032924"/>
                <a:gd name="connsiteX10" fmla="*/ 1663394 w 3239999"/>
                <a:gd name="connsiteY10" fmla="*/ 402054 h 3032924"/>
                <a:gd name="connsiteX11" fmla="*/ 2406065 w 3239999"/>
                <a:gd name="connsiteY11" fmla="*/ 22 h 3032924"/>
                <a:gd name="connsiteX12" fmla="*/ 2853673 w 3239999"/>
                <a:gd name="connsiteY12" fmla="*/ 91100 h 3032924"/>
                <a:gd name="connsiteX13" fmla="*/ 2854770 w 3239999"/>
                <a:gd name="connsiteY13" fmla="*/ 430441 h 3032924"/>
                <a:gd name="connsiteX14" fmla="*/ 3120669 w 3239999"/>
                <a:gd name="connsiteY14" fmla="*/ 428517 h 3032924"/>
                <a:gd name="connsiteX15" fmla="*/ 3120669 w 3239999"/>
                <a:gd name="connsiteY15" fmla="*/ 738345 h 3032924"/>
                <a:gd name="connsiteX16" fmla="*/ 3239999 w 3239999"/>
                <a:gd name="connsiteY16" fmla="*/ 738345 h 3032924"/>
                <a:gd name="connsiteX17" fmla="*/ 3239999 w 3239999"/>
                <a:gd name="connsiteY17" fmla="*/ 3032924 h 3032924"/>
                <a:gd name="connsiteX18" fmla="*/ 0 w 3239999"/>
                <a:gd name="connsiteY18" fmla="*/ 3032924 h 3032924"/>
                <a:gd name="connsiteX19" fmla="*/ 0 w 3239999"/>
                <a:gd name="connsiteY19" fmla="*/ 738345 h 3032924"/>
                <a:gd name="connsiteX20" fmla="*/ 102477 w 3239999"/>
                <a:gd name="connsiteY20" fmla="*/ 738345 h 3032924"/>
                <a:gd name="connsiteX21" fmla="*/ 102477 w 3239999"/>
                <a:gd name="connsiteY21" fmla="*/ 428517 h 3032924"/>
                <a:gd name="connsiteX22" fmla="*/ 385229 w 3239999"/>
                <a:gd name="connsiteY22" fmla="*/ 430441 h 3032924"/>
                <a:gd name="connsiteX23" fmla="*/ 386326 w 3239999"/>
                <a:gd name="connsiteY23" fmla="*/ 91100 h 3032924"/>
                <a:gd name="connsiteX24" fmla="*/ 833935 w 3239999"/>
                <a:gd name="connsiteY24" fmla="*/ 22 h 3032924"/>
                <a:gd name="connsiteX25" fmla="*/ 1576606 w 3239999"/>
                <a:gd name="connsiteY25" fmla="*/ 402054 h 3032924"/>
                <a:gd name="connsiteX26" fmla="*/ 1576606 w 3239999"/>
                <a:gd name="connsiteY26" fmla="*/ 430441 h 3032924"/>
                <a:gd name="connsiteX27" fmla="*/ 1576606 w 3239999"/>
                <a:gd name="connsiteY27" fmla="*/ 526981 h 3032924"/>
                <a:gd name="connsiteX28" fmla="*/ 1576606 w 3239999"/>
                <a:gd name="connsiteY28" fmla="*/ 2765302 h 3032924"/>
                <a:gd name="connsiteX29" fmla="*/ 378630 w 3239999"/>
                <a:gd name="connsiteY29" fmla="*/ 2472117 h 3032924"/>
                <a:gd name="connsiteX30" fmla="*/ 384918 w 3239999"/>
                <a:gd name="connsiteY30" fmla="*/ 526981 h 3032924"/>
                <a:gd name="connsiteX31" fmla="*/ 239143 w 3239999"/>
                <a:gd name="connsiteY31" fmla="*/ 526981 h 3032924"/>
                <a:gd name="connsiteX32" fmla="*/ 239143 w 3239999"/>
                <a:gd name="connsiteY32" fmla="*/ 2776423 h 3032924"/>
                <a:gd name="connsiteX33" fmla="*/ 1576606 w 3239999"/>
                <a:gd name="connsiteY33" fmla="*/ 2776423 h 3032924"/>
                <a:gd name="connsiteX34" fmla="*/ 1668046 w 3239999"/>
                <a:gd name="connsiteY34" fmla="*/ 2869642 h 3032924"/>
                <a:gd name="connsiteX0" fmla="*/ 1576606 w 3239999"/>
                <a:gd name="connsiteY0" fmla="*/ 2778202 h 3032924"/>
                <a:gd name="connsiteX1" fmla="*/ 1663394 w 3239999"/>
                <a:gd name="connsiteY1" fmla="*/ 2778202 h 3032924"/>
                <a:gd name="connsiteX2" fmla="*/ 1663394 w 3239999"/>
                <a:gd name="connsiteY2" fmla="*/ 2776423 h 3032924"/>
                <a:gd name="connsiteX3" fmla="*/ 3000856 w 3239999"/>
                <a:gd name="connsiteY3" fmla="*/ 2776423 h 3032924"/>
                <a:gd name="connsiteX4" fmla="*/ 3000856 w 3239999"/>
                <a:gd name="connsiteY4" fmla="*/ 526981 h 3032924"/>
                <a:gd name="connsiteX5" fmla="*/ 2855082 w 3239999"/>
                <a:gd name="connsiteY5" fmla="*/ 526981 h 3032924"/>
                <a:gd name="connsiteX6" fmla="*/ 2861369 w 3239999"/>
                <a:gd name="connsiteY6" fmla="*/ 2472117 h 3032924"/>
                <a:gd name="connsiteX7" fmla="*/ 1663394 w 3239999"/>
                <a:gd name="connsiteY7" fmla="*/ 2765302 h 3032924"/>
                <a:gd name="connsiteX8" fmla="*/ 1663394 w 3239999"/>
                <a:gd name="connsiteY8" fmla="*/ 526981 h 3032924"/>
                <a:gd name="connsiteX9" fmla="*/ 1663394 w 3239999"/>
                <a:gd name="connsiteY9" fmla="*/ 430441 h 3032924"/>
                <a:gd name="connsiteX10" fmla="*/ 1663394 w 3239999"/>
                <a:gd name="connsiteY10" fmla="*/ 402054 h 3032924"/>
                <a:gd name="connsiteX11" fmla="*/ 2406065 w 3239999"/>
                <a:gd name="connsiteY11" fmla="*/ 22 h 3032924"/>
                <a:gd name="connsiteX12" fmla="*/ 2853673 w 3239999"/>
                <a:gd name="connsiteY12" fmla="*/ 91100 h 3032924"/>
                <a:gd name="connsiteX13" fmla="*/ 2854770 w 3239999"/>
                <a:gd name="connsiteY13" fmla="*/ 430441 h 3032924"/>
                <a:gd name="connsiteX14" fmla="*/ 3120669 w 3239999"/>
                <a:gd name="connsiteY14" fmla="*/ 428517 h 3032924"/>
                <a:gd name="connsiteX15" fmla="*/ 3120669 w 3239999"/>
                <a:gd name="connsiteY15" fmla="*/ 738345 h 3032924"/>
                <a:gd name="connsiteX16" fmla="*/ 3239999 w 3239999"/>
                <a:gd name="connsiteY16" fmla="*/ 738345 h 3032924"/>
                <a:gd name="connsiteX17" fmla="*/ 3239999 w 3239999"/>
                <a:gd name="connsiteY17" fmla="*/ 3032924 h 3032924"/>
                <a:gd name="connsiteX18" fmla="*/ 0 w 3239999"/>
                <a:gd name="connsiteY18" fmla="*/ 3032924 h 3032924"/>
                <a:gd name="connsiteX19" fmla="*/ 0 w 3239999"/>
                <a:gd name="connsiteY19" fmla="*/ 738345 h 3032924"/>
                <a:gd name="connsiteX20" fmla="*/ 102477 w 3239999"/>
                <a:gd name="connsiteY20" fmla="*/ 738345 h 3032924"/>
                <a:gd name="connsiteX21" fmla="*/ 102477 w 3239999"/>
                <a:gd name="connsiteY21" fmla="*/ 428517 h 3032924"/>
                <a:gd name="connsiteX22" fmla="*/ 385229 w 3239999"/>
                <a:gd name="connsiteY22" fmla="*/ 430441 h 3032924"/>
                <a:gd name="connsiteX23" fmla="*/ 386326 w 3239999"/>
                <a:gd name="connsiteY23" fmla="*/ 91100 h 3032924"/>
                <a:gd name="connsiteX24" fmla="*/ 833935 w 3239999"/>
                <a:gd name="connsiteY24" fmla="*/ 22 h 3032924"/>
                <a:gd name="connsiteX25" fmla="*/ 1576606 w 3239999"/>
                <a:gd name="connsiteY25" fmla="*/ 402054 h 3032924"/>
                <a:gd name="connsiteX26" fmla="*/ 1576606 w 3239999"/>
                <a:gd name="connsiteY26" fmla="*/ 430441 h 3032924"/>
                <a:gd name="connsiteX27" fmla="*/ 1576606 w 3239999"/>
                <a:gd name="connsiteY27" fmla="*/ 526981 h 3032924"/>
                <a:gd name="connsiteX28" fmla="*/ 1576606 w 3239999"/>
                <a:gd name="connsiteY28" fmla="*/ 2765302 h 3032924"/>
                <a:gd name="connsiteX29" fmla="*/ 378630 w 3239999"/>
                <a:gd name="connsiteY29" fmla="*/ 2472117 h 3032924"/>
                <a:gd name="connsiteX30" fmla="*/ 384918 w 3239999"/>
                <a:gd name="connsiteY30" fmla="*/ 526981 h 3032924"/>
                <a:gd name="connsiteX31" fmla="*/ 239143 w 3239999"/>
                <a:gd name="connsiteY31" fmla="*/ 526981 h 3032924"/>
                <a:gd name="connsiteX32" fmla="*/ 239143 w 3239999"/>
                <a:gd name="connsiteY32" fmla="*/ 2776423 h 3032924"/>
                <a:gd name="connsiteX33" fmla="*/ 1576606 w 3239999"/>
                <a:gd name="connsiteY33" fmla="*/ 2776423 h 3032924"/>
                <a:gd name="connsiteX34" fmla="*/ 1668046 w 3239999"/>
                <a:gd name="connsiteY34" fmla="*/ 2869642 h 3032924"/>
                <a:gd name="connsiteX0" fmla="*/ 1576606 w 3239999"/>
                <a:gd name="connsiteY0" fmla="*/ 2778202 h 3032924"/>
                <a:gd name="connsiteX1" fmla="*/ 1663394 w 3239999"/>
                <a:gd name="connsiteY1" fmla="*/ 2778202 h 3032924"/>
                <a:gd name="connsiteX2" fmla="*/ 1663394 w 3239999"/>
                <a:gd name="connsiteY2" fmla="*/ 2776423 h 3032924"/>
                <a:gd name="connsiteX3" fmla="*/ 3000856 w 3239999"/>
                <a:gd name="connsiteY3" fmla="*/ 2776423 h 3032924"/>
                <a:gd name="connsiteX4" fmla="*/ 3000856 w 3239999"/>
                <a:gd name="connsiteY4" fmla="*/ 526981 h 3032924"/>
                <a:gd name="connsiteX5" fmla="*/ 2855082 w 3239999"/>
                <a:gd name="connsiteY5" fmla="*/ 526981 h 3032924"/>
                <a:gd name="connsiteX6" fmla="*/ 2861369 w 3239999"/>
                <a:gd name="connsiteY6" fmla="*/ 2472117 h 3032924"/>
                <a:gd name="connsiteX7" fmla="*/ 1663394 w 3239999"/>
                <a:gd name="connsiteY7" fmla="*/ 2765302 h 3032924"/>
                <a:gd name="connsiteX8" fmla="*/ 1663394 w 3239999"/>
                <a:gd name="connsiteY8" fmla="*/ 526981 h 3032924"/>
                <a:gd name="connsiteX9" fmla="*/ 1663394 w 3239999"/>
                <a:gd name="connsiteY9" fmla="*/ 430441 h 3032924"/>
                <a:gd name="connsiteX10" fmla="*/ 1663394 w 3239999"/>
                <a:gd name="connsiteY10" fmla="*/ 402054 h 3032924"/>
                <a:gd name="connsiteX11" fmla="*/ 2406065 w 3239999"/>
                <a:gd name="connsiteY11" fmla="*/ 22 h 3032924"/>
                <a:gd name="connsiteX12" fmla="*/ 2853673 w 3239999"/>
                <a:gd name="connsiteY12" fmla="*/ 91100 h 3032924"/>
                <a:gd name="connsiteX13" fmla="*/ 2854770 w 3239999"/>
                <a:gd name="connsiteY13" fmla="*/ 430441 h 3032924"/>
                <a:gd name="connsiteX14" fmla="*/ 3120669 w 3239999"/>
                <a:gd name="connsiteY14" fmla="*/ 428517 h 3032924"/>
                <a:gd name="connsiteX15" fmla="*/ 3120669 w 3239999"/>
                <a:gd name="connsiteY15" fmla="*/ 738345 h 3032924"/>
                <a:gd name="connsiteX16" fmla="*/ 3239999 w 3239999"/>
                <a:gd name="connsiteY16" fmla="*/ 738345 h 3032924"/>
                <a:gd name="connsiteX17" fmla="*/ 3239999 w 3239999"/>
                <a:gd name="connsiteY17" fmla="*/ 3032924 h 3032924"/>
                <a:gd name="connsiteX18" fmla="*/ 0 w 3239999"/>
                <a:gd name="connsiteY18" fmla="*/ 3032924 h 3032924"/>
                <a:gd name="connsiteX19" fmla="*/ 0 w 3239999"/>
                <a:gd name="connsiteY19" fmla="*/ 738345 h 3032924"/>
                <a:gd name="connsiteX20" fmla="*/ 102477 w 3239999"/>
                <a:gd name="connsiteY20" fmla="*/ 738345 h 3032924"/>
                <a:gd name="connsiteX21" fmla="*/ 102477 w 3239999"/>
                <a:gd name="connsiteY21" fmla="*/ 428517 h 3032924"/>
                <a:gd name="connsiteX22" fmla="*/ 385229 w 3239999"/>
                <a:gd name="connsiteY22" fmla="*/ 430441 h 3032924"/>
                <a:gd name="connsiteX23" fmla="*/ 386326 w 3239999"/>
                <a:gd name="connsiteY23" fmla="*/ 91100 h 3032924"/>
                <a:gd name="connsiteX24" fmla="*/ 833935 w 3239999"/>
                <a:gd name="connsiteY24" fmla="*/ 22 h 3032924"/>
                <a:gd name="connsiteX25" fmla="*/ 1576606 w 3239999"/>
                <a:gd name="connsiteY25" fmla="*/ 402054 h 3032924"/>
                <a:gd name="connsiteX26" fmla="*/ 1576606 w 3239999"/>
                <a:gd name="connsiteY26" fmla="*/ 430441 h 3032924"/>
                <a:gd name="connsiteX27" fmla="*/ 1576606 w 3239999"/>
                <a:gd name="connsiteY27" fmla="*/ 526981 h 3032924"/>
                <a:gd name="connsiteX28" fmla="*/ 1576606 w 3239999"/>
                <a:gd name="connsiteY28" fmla="*/ 2765302 h 3032924"/>
                <a:gd name="connsiteX29" fmla="*/ 378630 w 3239999"/>
                <a:gd name="connsiteY29" fmla="*/ 2472117 h 3032924"/>
                <a:gd name="connsiteX30" fmla="*/ 384918 w 3239999"/>
                <a:gd name="connsiteY30" fmla="*/ 526981 h 3032924"/>
                <a:gd name="connsiteX31" fmla="*/ 239143 w 3239999"/>
                <a:gd name="connsiteY31" fmla="*/ 526981 h 3032924"/>
                <a:gd name="connsiteX32" fmla="*/ 239143 w 3239999"/>
                <a:gd name="connsiteY32" fmla="*/ 2776423 h 3032924"/>
                <a:gd name="connsiteX33" fmla="*/ 1576606 w 3239999"/>
                <a:gd name="connsiteY33" fmla="*/ 2776423 h 3032924"/>
                <a:gd name="connsiteX0" fmla="*/ 1576606 w 3239999"/>
                <a:gd name="connsiteY0" fmla="*/ 2778202 h 3032924"/>
                <a:gd name="connsiteX1" fmla="*/ 1663394 w 3239999"/>
                <a:gd name="connsiteY1" fmla="*/ 2778202 h 3032924"/>
                <a:gd name="connsiteX2" fmla="*/ 1663394 w 3239999"/>
                <a:gd name="connsiteY2" fmla="*/ 2776423 h 3032924"/>
                <a:gd name="connsiteX3" fmla="*/ 3000856 w 3239999"/>
                <a:gd name="connsiteY3" fmla="*/ 2776423 h 3032924"/>
                <a:gd name="connsiteX4" fmla="*/ 3000856 w 3239999"/>
                <a:gd name="connsiteY4" fmla="*/ 526981 h 3032924"/>
                <a:gd name="connsiteX5" fmla="*/ 2855082 w 3239999"/>
                <a:gd name="connsiteY5" fmla="*/ 526981 h 3032924"/>
                <a:gd name="connsiteX6" fmla="*/ 2861369 w 3239999"/>
                <a:gd name="connsiteY6" fmla="*/ 2472117 h 3032924"/>
                <a:gd name="connsiteX7" fmla="*/ 1663394 w 3239999"/>
                <a:gd name="connsiteY7" fmla="*/ 2765302 h 3032924"/>
                <a:gd name="connsiteX8" fmla="*/ 1663394 w 3239999"/>
                <a:gd name="connsiteY8" fmla="*/ 526981 h 3032924"/>
                <a:gd name="connsiteX9" fmla="*/ 1663394 w 3239999"/>
                <a:gd name="connsiteY9" fmla="*/ 430441 h 3032924"/>
                <a:gd name="connsiteX10" fmla="*/ 1663394 w 3239999"/>
                <a:gd name="connsiteY10" fmla="*/ 402054 h 3032924"/>
                <a:gd name="connsiteX11" fmla="*/ 2406065 w 3239999"/>
                <a:gd name="connsiteY11" fmla="*/ 22 h 3032924"/>
                <a:gd name="connsiteX12" fmla="*/ 2853673 w 3239999"/>
                <a:gd name="connsiteY12" fmla="*/ 91100 h 3032924"/>
                <a:gd name="connsiteX13" fmla="*/ 2854770 w 3239999"/>
                <a:gd name="connsiteY13" fmla="*/ 430441 h 3032924"/>
                <a:gd name="connsiteX14" fmla="*/ 3120669 w 3239999"/>
                <a:gd name="connsiteY14" fmla="*/ 428517 h 3032924"/>
                <a:gd name="connsiteX15" fmla="*/ 3120669 w 3239999"/>
                <a:gd name="connsiteY15" fmla="*/ 738345 h 3032924"/>
                <a:gd name="connsiteX16" fmla="*/ 3239999 w 3239999"/>
                <a:gd name="connsiteY16" fmla="*/ 738345 h 3032924"/>
                <a:gd name="connsiteX17" fmla="*/ 3239999 w 3239999"/>
                <a:gd name="connsiteY17" fmla="*/ 3032924 h 3032924"/>
                <a:gd name="connsiteX18" fmla="*/ 0 w 3239999"/>
                <a:gd name="connsiteY18" fmla="*/ 3032924 h 3032924"/>
                <a:gd name="connsiteX19" fmla="*/ 0 w 3239999"/>
                <a:gd name="connsiteY19" fmla="*/ 738345 h 3032924"/>
                <a:gd name="connsiteX20" fmla="*/ 102477 w 3239999"/>
                <a:gd name="connsiteY20" fmla="*/ 738345 h 3032924"/>
                <a:gd name="connsiteX21" fmla="*/ 102477 w 3239999"/>
                <a:gd name="connsiteY21" fmla="*/ 428517 h 3032924"/>
                <a:gd name="connsiteX22" fmla="*/ 385229 w 3239999"/>
                <a:gd name="connsiteY22" fmla="*/ 430441 h 3032924"/>
                <a:gd name="connsiteX23" fmla="*/ 386326 w 3239999"/>
                <a:gd name="connsiteY23" fmla="*/ 91100 h 3032924"/>
                <a:gd name="connsiteX24" fmla="*/ 833935 w 3239999"/>
                <a:gd name="connsiteY24" fmla="*/ 22 h 3032924"/>
                <a:gd name="connsiteX25" fmla="*/ 1576606 w 3239999"/>
                <a:gd name="connsiteY25" fmla="*/ 402054 h 3032924"/>
                <a:gd name="connsiteX26" fmla="*/ 1576606 w 3239999"/>
                <a:gd name="connsiteY26" fmla="*/ 430441 h 3032924"/>
                <a:gd name="connsiteX27" fmla="*/ 1576606 w 3239999"/>
                <a:gd name="connsiteY27" fmla="*/ 526981 h 3032924"/>
                <a:gd name="connsiteX28" fmla="*/ 1576606 w 3239999"/>
                <a:gd name="connsiteY28" fmla="*/ 2765302 h 3032924"/>
                <a:gd name="connsiteX29" fmla="*/ 378630 w 3239999"/>
                <a:gd name="connsiteY29" fmla="*/ 2472117 h 3032924"/>
                <a:gd name="connsiteX30" fmla="*/ 384918 w 3239999"/>
                <a:gd name="connsiteY30" fmla="*/ 526981 h 3032924"/>
                <a:gd name="connsiteX31" fmla="*/ 239143 w 3239999"/>
                <a:gd name="connsiteY31" fmla="*/ 526981 h 3032924"/>
                <a:gd name="connsiteX32" fmla="*/ 239143 w 3239999"/>
                <a:gd name="connsiteY32" fmla="*/ 2776423 h 3032924"/>
                <a:gd name="connsiteX33" fmla="*/ 1576606 w 3239999"/>
                <a:gd name="connsiteY33" fmla="*/ 2776423 h 3032924"/>
                <a:gd name="connsiteX0" fmla="*/ 1576606 w 3239999"/>
                <a:gd name="connsiteY0" fmla="*/ 2778202 h 3032924"/>
                <a:gd name="connsiteX1" fmla="*/ 1663394 w 3239999"/>
                <a:gd name="connsiteY1" fmla="*/ 2778202 h 3032924"/>
                <a:gd name="connsiteX2" fmla="*/ 1663394 w 3239999"/>
                <a:gd name="connsiteY2" fmla="*/ 2776423 h 3032924"/>
                <a:gd name="connsiteX3" fmla="*/ 3000856 w 3239999"/>
                <a:gd name="connsiteY3" fmla="*/ 2776423 h 3032924"/>
                <a:gd name="connsiteX4" fmla="*/ 3000856 w 3239999"/>
                <a:gd name="connsiteY4" fmla="*/ 526981 h 3032924"/>
                <a:gd name="connsiteX5" fmla="*/ 2855082 w 3239999"/>
                <a:gd name="connsiteY5" fmla="*/ 526981 h 3032924"/>
                <a:gd name="connsiteX6" fmla="*/ 2861369 w 3239999"/>
                <a:gd name="connsiteY6" fmla="*/ 2472117 h 3032924"/>
                <a:gd name="connsiteX7" fmla="*/ 1663394 w 3239999"/>
                <a:gd name="connsiteY7" fmla="*/ 2765302 h 3032924"/>
                <a:gd name="connsiteX8" fmla="*/ 1663394 w 3239999"/>
                <a:gd name="connsiteY8" fmla="*/ 526981 h 3032924"/>
                <a:gd name="connsiteX9" fmla="*/ 1663394 w 3239999"/>
                <a:gd name="connsiteY9" fmla="*/ 430441 h 3032924"/>
                <a:gd name="connsiteX10" fmla="*/ 1663394 w 3239999"/>
                <a:gd name="connsiteY10" fmla="*/ 402054 h 3032924"/>
                <a:gd name="connsiteX11" fmla="*/ 2406065 w 3239999"/>
                <a:gd name="connsiteY11" fmla="*/ 22 h 3032924"/>
                <a:gd name="connsiteX12" fmla="*/ 2853673 w 3239999"/>
                <a:gd name="connsiteY12" fmla="*/ 91100 h 3032924"/>
                <a:gd name="connsiteX13" fmla="*/ 2854770 w 3239999"/>
                <a:gd name="connsiteY13" fmla="*/ 430441 h 3032924"/>
                <a:gd name="connsiteX14" fmla="*/ 3120669 w 3239999"/>
                <a:gd name="connsiteY14" fmla="*/ 428517 h 3032924"/>
                <a:gd name="connsiteX15" fmla="*/ 3120669 w 3239999"/>
                <a:gd name="connsiteY15" fmla="*/ 738345 h 3032924"/>
                <a:gd name="connsiteX16" fmla="*/ 3239999 w 3239999"/>
                <a:gd name="connsiteY16" fmla="*/ 738345 h 3032924"/>
                <a:gd name="connsiteX17" fmla="*/ 3239999 w 3239999"/>
                <a:gd name="connsiteY17" fmla="*/ 3032924 h 3032924"/>
                <a:gd name="connsiteX18" fmla="*/ 0 w 3239999"/>
                <a:gd name="connsiteY18" fmla="*/ 3032924 h 3032924"/>
                <a:gd name="connsiteX19" fmla="*/ 0 w 3239999"/>
                <a:gd name="connsiteY19" fmla="*/ 738345 h 3032924"/>
                <a:gd name="connsiteX20" fmla="*/ 102477 w 3239999"/>
                <a:gd name="connsiteY20" fmla="*/ 738345 h 3032924"/>
                <a:gd name="connsiteX21" fmla="*/ 102477 w 3239999"/>
                <a:gd name="connsiteY21" fmla="*/ 428517 h 3032924"/>
                <a:gd name="connsiteX22" fmla="*/ 385229 w 3239999"/>
                <a:gd name="connsiteY22" fmla="*/ 430441 h 3032924"/>
                <a:gd name="connsiteX23" fmla="*/ 386326 w 3239999"/>
                <a:gd name="connsiteY23" fmla="*/ 91100 h 3032924"/>
                <a:gd name="connsiteX24" fmla="*/ 833935 w 3239999"/>
                <a:gd name="connsiteY24" fmla="*/ 22 h 3032924"/>
                <a:gd name="connsiteX25" fmla="*/ 1576606 w 3239999"/>
                <a:gd name="connsiteY25" fmla="*/ 402054 h 3032924"/>
                <a:gd name="connsiteX26" fmla="*/ 1576606 w 3239999"/>
                <a:gd name="connsiteY26" fmla="*/ 430441 h 3032924"/>
                <a:gd name="connsiteX27" fmla="*/ 1576606 w 3239999"/>
                <a:gd name="connsiteY27" fmla="*/ 526981 h 3032924"/>
                <a:gd name="connsiteX28" fmla="*/ 1576606 w 3239999"/>
                <a:gd name="connsiteY28" fmla="*/ 2765302 h 3032924"/>
                <a:gd name="connsiteX29" fmla="*/ 378630 w 3239999"/>
                <a:gd name="connsiteY29" fmla="*/ 2472117 h 3032924"/>
                <a:gd name="connsiteX30" fmla="*/ 384918 w 3239999"/>
                <a:gd name="connsiteY30" fmla="*/ 526981 h 3032924"/>
                <a:gd name="connsiteX31" fmla="*/ 239143 w 3239999"/>
                <a:gd name="connsiteY31" fmla="*/ 526981 h 3032924"/>
                <a:gd name="connsiteX32" fmla="*/ 239143 w 3239999"/>
                <a:gd name="connsiteY32" fmla="*/ 2776423 h 3032924"/>
                <a:gd name="connsiteX33" fmla="*/ 1576606 w 3239999"/>
                <a:gd name="connsiteY33" fmla="*/ 2776423 h 3032924"/>
                <a:gd name="connsiteX0" fmla="*/ 1576606 w 3239999"/>
                <a:gd name="connsiteY0" fmla="*/ 2778202 h 3032924"/>
                <a:gd name="connsiteX1" fmla="*/ 1663394 w 3239999"/>
                <a:gd name="connsiteY1" fmla="*/ 2778202 h 3032924"/>
                <a:gd name="connsiteX2" fmla="*/ 1663394 w 3239999"/>
                <a:gd name="connsiteY2" fmla="*/ 2776423 h 3032924"/>
                <a:gd name="connsiteX3" fmla="*/ 3000856 w 3239999"/>
                <a:gd name="connsiteY3" fmla="*/ 2776423 h 3032924"/>
                <a:gd name="connsiteX4" fmla="*/ 3000856 w 3239999"/>
                <a:gd name="connsiteY4" fmla="*/ 526981 h 3032924"/>
                <a:gd name="connsiteX5" fmla="*/ 2855082 w 3239999"/>
                <a:gd name="connsiteY5" fmla="*/ 526981 h 3032924"/>
                <a:gd name="connsiteX6" fmla="*/ 2861369 w 3239999"/>
                <a:gd name="connsiteY6" fmla="*/ 2472117 h 3032924"/>
                <a:gd name="connsiteX7" fmla="*/ 1663394 w 3239999"/>
                <a:gd name="connsiteY7" fmla="*/ 2765302 h 3032924"/>
                <a:gd name="connsiteX8" fmla="*/ 1663394 w 3239999"/>
                <a:gd name="connsiteY8" fmla="*/ 526981 h 3032924"/>
                <a:gd name="connsiteX9" fmla="*/ 1663394 w 3239999"/>
                <a:gd name="connsiteY9" fmla="*/ 430441 h 3032924"/>
                <a:gd name="connsiteX10" fmla="*/ 1663394 w 3239999"/>
                <a:gd name="connsiteY10" fmla="*/ 402054 h 3032924"/>
                <a:gd name="connsiteX11" fmla="*/ 2406065 w 3239999"/>
                <a:gd name="connsiteY11" fmla="*/ 22 h 3032924"/>
                <a:gd name="connsiteX12" fmla="*/ 2853673 w 3239999"/>
                <a:gd name="connsiteY12" fmla="*/ 91100 h 3032924"/>
                <a:gd name="connsiteX13" fmla="*/ 2854770 w 3239999"/>
                <a:gd name="connsiteY13" fmla="*/ 430441 h 3032924"/>
                <a:gd name="connsiteX14" fmla="*/ 3120669 w 3239999"/>
                <a:gd name="connsiteY14" fmla="*/ 428517 h 3032924"/>
                <a:gd name="connsiteX15" fmla="*/ 3120669 w 3239999"/>
                <a:gd name="connsiteY15" fmla="*/ 738345 h 3032924"/>
                <a:gd name="connsiteX16" fmla="*/ 3239999 w 3239999"/>
                <a:gd name="connsiteY16" fmla="*/ 738345 h 3032924"/>
                <a:gd name="connsiteX17" fmla="*/ 3239999 w 3239999"/>
                <a:gd name="connsiteY17" fmla="*/ 3032924 h 3032924"/>
                <a:gd name="connsiteX18" fmla="*/ 0 w 3239999"/>
                <a:gd name="connsiteY18" fmla="*/ 3032924 h 3032924"/>
                <a:gd name="connsiteX19" fmla="*/ 0 w 3239999"/>
                <a:gd name="connsiteY19" fmla="*/ 738345 h 3032924"/>
                <a:gd name="connsiteX20" fmla="*/ 102477 w 3239999"/>
                <a:gd name="connsiteY20" fmla="*/ 738345 h 3032924"/>
                <a:gd name="connsiteX21" fmla="*/ 102477 w 3239999"/>
                <a:gd name="connsiteY21" fmla="*/ 428517 h 3032924"/>
                <a:gd name="connsiteX22" fmla="*/ 385229 w 3239999"/>
                <a:gd name="connsiteY22" fmla="*/ 430441 h 3032924"/>
                <a:gd name="connsiteX23" fmla="*/ 386326 w 3239999"/>
                <a:gd name="connsiteY23" fmla="*/ 91100 h 3032924"/>
                <a:gd name="connsiteX24" fmla="*/ 833935 w 3239999"/>
                <a:gd name="connsiteY24" fmla="*/ 22 h 3032924"/>
                <a:gd name="connsiteX25" fmla="*/ 1576606 w 3239999"/>
                <a:gd name="connsiteY25" fmla="*/ 402054 h 3032924"/>
                <a:gd name="connsiteX26" fmla="*/ 1576606 w 3239999"/>
                <a:gd name="connsiteY26" fmla="*/ 430441 h 3032924"/>
                <a:gd name="connsiteX27" fmla="*/ 1576606 w 3239999"/>
                <a:gd name="connsiteY27" fmla="*/ 526981 h 3032924"/>
                <a:gd name="connsiteX28" fmla="*/ 1576606 w 3239999"/>
                <a:gd name="connsiteY28" fmla="*/ 2765302 h 3032924"/>
                <a:gd name="connsiteX29" fmla="*/ 378630 w 3239999"/>
                <a:gd name="connsiteY29" fmla="*/ 2472117 h 3032924"/>
                <a:gd name="connsiteX30" fmla="*/ 384918 w 3239999"/>
                <a:gd name="connsiteY30" fmla="*/ 526981 h 3032924"/>
                <a:gd name="connsiteX31" fmla="*/ 239143 w 3239999"/>
                <a:gd name="connsiteY31" fmla="*/ 526981 h 3032924"/>
                <a:gd name="connsiteX32" fmla="*/ 239143 w 3239999"/>
                <a:gd name="connsiteY32" fmla="*/ 2776423 h 3032924"/>
                <a:gd name="connsiteX33" fmla="*/ 1576606 w 3239999"/>
                <a:gd name="connsiteY33" fmla="*/ 2776423 h 3032924"/>
                <a:gd name="connsiteX0" fmla="*/ 1576606 w 3239999"/>
                <a:gd name="connsiteY0" fmla="*/ 2778202 h 3032924"/>
                <a:gd name="connsiteX1" fmla="*/ 1663394 w 3239999"/>
                <a:gd name="connsiteY1" fmla="*/ 2778202 h 3032924"/>
                <a:gd name="connsiteX2" fmla="*/ 1663394 w 3239999"/>
                <a:gd name="connsiteY2" fmla="*/ 2776423 h 3032924"/>
                <a:gd name="connsiteX3" fmla="*/ 3000856 w 3239999"/>
                <a:gd name="connsiteY3" fmla="*/ 2776423 h 3032924"/>
                <a:gd name="connsiteX4" fmla="*/ 3000856 w 3239999"/>
                <a:gd name="connsiteY4" fmla="*/ 526981 h 3032924"/>
                <a:gd name="connsiteX5" fmla="*/ 2855082 w 3239999"/>
                <a:gd name="connsiteY5" fmla="*/ 526981 h 3032924"/>
                <a:gd name="connsiteX6" fmla="*/ 2861369 w 3239999"/>
                <a:gd name="connsiteY6" fmla="*/ 2472117 h 3032924"/>
                <a:gd name="connsiteX7" fmla="*/ 1663394 w 3239999"/>
                <a:gd name="connsiteY7" fmla="*/ 2765302 h 3032924"/>
                <a:gd name="connsiteX8" fmla="*/ 1663394 w 3239999"/>
                <a:gd name="connsiteY8" fmla="*/ 526981 h 3032924"/>
                <a:gd name="connsiteX9" fmla="*/ 1663394 w 3239999"/>
                <a:gd name="connsiteY9" fmla="*/ 430441 h 3032924"/>
                <a:gd name="connsiteX10" fmla="*/ 1663394 w 3239999"/>
                <a:gd name="connsiteY10" fmla="*/ 402054 h 3032924"/>
                <a:gd name="connsiteX11" fmla="*/ 2406065 w 3239999"/>
                <a:gd name="connsiteY11" fmla="*/ 22 h 3032924"/>
                <a:gd name="connsiteX12" fmla="*/ 2853673 w 3239999"/>
                <a:gd name="connsiteY12" fmla="*/ 91100 h 3032924"/>
                <a:gd name="connsiteX13" fmla="*/ 2854770 w 3239999"/>
                <a:gd name="connsiteY13" fmla="*/ 430441 h 3032924"/>
                <a:gd name="connsiteX14" fmla="*/ 3120669 w 3239999"/>
                <a:gd name="connsiteY14" fmla="*/ 428517 h 3032924"/>
                <a:gd name="connsiteX15" fmla="*/ 3120669 w 3239999"/>
                <a:gd name="connsiteY15" fmla="*/ 738345 h 3032924"/>
                <a:gd name="connsiteX16" fmla="*/ 3239999 w 3239999"/>
                <a:gd name="connsiteY16" fmla="*/ 738345 h 3032924"/>
                <a:gd name="connsiteX17" fmla="*/ 3239999 w 3239999"/>
                <a:gd name="connsiteY17" fmla="*/ 3032924 h 3032924"/>
                <a:gd name="connsiteX18" fmla="*/ 0 w 3239999"/>
                <a:gd name="connsiteY18" fmla="*/ 3032924 h 3032924"/>
                <a:gd name="connsiteX19" fmla="*/ 0 w 3239999"/>
                <a:gd name="connsiteY19" fmla="*/ 738345 h 3032924"/>
                <a:gd name="connsiteX20" fmla="*/ 102477 w 3239999"/>
                <a:gd name="connsiteY20" fmla="*/ 738345 h 3032924"/>
                <a:gd name="connsiteX21" fmla="*/ 102477 w 3239999"/>
                <a:gd name="connsiteY21" fmla="*/ 428517 h 3032924"/>
                <a:gd name="connsiteX22" fmla="*/ 385229 w 3239999"/>
                <a:gd name="connsiteY22" fmla="*/ 430441 h 3032924"/>
                <a:gd name="connsiteX23" fmla="*/ 386326 w 3239999"/>
                <a:gd name="connsiteY23" fmla="*/ 91100 h 3032924"/>
                <a:gd name="connsiteX24" fmla="*/ 833935 w 3239999"/>
                <a:gd name="connsiteY24" fmla="*/ 22 h 3032924"/>
                <a:gd name="connsiteX25" fmla="*/ 1576606 w 3239999"/>
                <a:gd name="connsiteY25" fmla="*/ 402054 h 3032924"/>
                <a:gd name="connsiteX26" fmla="*/ 1576606 w 3239999"/>
                <a:gd name="connsiteY26" fmla="*/ 430441 h 3032924"/>
                <a:gd name="connsiteX27" fmla="*/ 1576606 w 3239999"/>
                <a:gd name="connsiteY27" fmla="*/ 526981 h 3032924"/>
                <a:gd name="connsiteX28" fmla="*/ 1576606 w 3239999"/>
                <a:gd name="connsiteY28" fmla="*/ 2765302 h 3032924"/>
                <a:gd name="connsiteX29" fmla="*/ 378630 w 3239999"/>
                <a:gd name="connsiteY29" fmla="*/ 2472117 h 3032924"/>
                <a:gd name="connsiteX30" fmla="*/ 384918 w 3239999"/>
                <a:gd name="connsiteY30" fmla="*/ 526981 h 3032924"/>
                <a:gd name="connsiteX31" fmla="*/ 239143 w 3239999"/>
                <a:gd name="connsiteY31" fmla="*/ 526981 h 3032924"/>
                <a:gd name="connsiteX32" fmla="*/ 229618 w 3239999"/>
                <a:gd name="connsiteY32" fmla="*/ 2690698 h 3032924"/>
                <a:gd name="connsiteX33" fmla="*/ 1576606 w 3239999"/>
                <a:gd name="connsiteY33" fmla="*/ 2776423 h 3032924"/>
                <a:gd name="connsiteX0" fmla="*/ 1576606 w 3239999"/>
                <a:gd name="connsiteY0" fmla="*/ 2778202 h 3032924"/>
                <a:gd name="connsiteX1" fmla="*/ 1663394 w 3239999"/>
                <a:gd name="connsiteY1" fmla="*/ 2778202 h 3032924"/>
                <a:gd name="connsiteX2" fmla="*/ 1663394 w 3239999"/>
                <a:gd name="connsiteY2" fmla="*/ 2776423 h 3032924"/>
                <a:gd name="connsiteX3" fmla="*/ 2991331 w 3239999"/>
                <a:gd name="connsiteY3" fmla="*/ 2709748 h 3032924"/>
                <a:gd name="connsiteX4" fmla="*/ 3000856 w 3239999"/>
                <a:gd name="connsiteY4" fmla="*/ 526981 h 3032924"/>
                <a:gd name="connsiteX5" fmla="*/ 2855082 w 3239999"/>
                <a:gd name="connsiteY5" fmla="*/ 526981 h 3032924"/>
                <a:gd name="connsiteX6" fmla="*/ 2861369 w 3239999"/>
                <a:gd name="connsiteY6" fmla="*/ 2472117 h 3032924"/>
                <a:gd name="connsiteX7" fmla="*/ 1663394 w 3239999"/>
                <a:gd name="connsiteY7" fmla="*/ 2765302 h 3032924"/>
                <a:gd name="connsiteX8" fmla="*/ 1663394 w 3239999"/>
                <a:gd name="connsiteY8" fmla="*/ 526981 h 3032924"/>
                <a:gd name="connsiteX9" fmla="*/ 1663394 w 3239999"/>
                <a:gd name="connsiteY9" fmla="*/ 430441 h 3032924"/>
                <a:gd name="connsiteX10" fmla="*/ 1663394 w 3239999"/>
                <a:gd name="connsiteY10" fmla="*/ 402054 h 3032924"/>
                <a:gd name="connsiteX11" fmla="*/ 2406065 w 3239999"/>
                <a:gd name="connsiteY11" fmla="*/ 22 h 3032924"/>
                <a:gd name="connsiteX12" fmla="*/ 2853673 w 3239999"/>
                <a:gd name="connsiteY12" fmla="*/ 91100 h 3032924"/>
                <a:gd name="connsiteX13" fmla="*/ 2854770 w 3239999"/>
                <a:gd name="connsiteY13" fmla="*/ 430441 h 3032924"/>
                <a:gd name="connsiteX14" fmla="*/ 3120669 w 3239999"/>
                <a:gd name="connsiteY14" fmla="*/ 428517 h 3032924"/>
                <a:gd name="connsiteX15" fmla="*/ 3120669 w 3239999"/>
                <a:gd name="connsiteY15" fmla="*/ 738345 h 3032924"/>
                <a:gd name="connsiteX16" fmla="*/ 3239999 w 3239999"/>
                <a:gd name="connsiteY16" fmla="*/ 738345 h 3032924"/>
                <a:gd name="connsiteX17" fmla="*/ 3239999 w 3239999"/>
                <a:gd name="connsiteY17" fmla="*/ 3032924 h 3032924"/>
                <a:gd name="connsiteX18" fmla="*/ 0 w 3239999"/>
                <a:gd name="connsiteY18" fmla="*/ 3032924 h 3032924"/>
                <a:gd name="connsiteX19" fmla="*/ 0 w 3239999"/>
                <a:gd name="connsiteY19" fmla="*/ 738345 h 3032924"/>
                <a:gd name="connsiteX20" fmla="*/ 102477 w 3239999"/>
                <a:gd name="connsiteY20" fmla="*/ 738345 h 3032924"/>
                <a:gd name="connsiteX21" fmla="*/ 102477 w 3239999"/>
                <a:gd name="connsiteY21" fmla="*/ 428517 h 3032924"/>
                <a:gd name="connsiteX22" fmla="*/ 385229 w 3239999"/>
                <a:gd name="connsiteY22" fmla="*/ 430441 h 3032924"/>
                <a:gd name="connsiteX23" fmla="*/ 386326 w 3239999"/>
                <a:gd name="connsiteY23" fmla="*/ 91100 h 3032924"/>
                <a:gd name="connsiteX24" fmla="*/ 833935 w 3239999"/>
                <a:gd name="connsiteY24" fmla="*/ 22 h 3032924"/>
                <a:gd name="connsiteX25" fmla="*/ 1576606 w 3239999"/>
                <a:gd name="connsiteY25" fmla="*/ 402054 h 3032924"/>
                <a:gd name="connsiteX26" fmla="*/ 1576606 w 3239999"/>
                <a:gd name="connsiteY26" fmla="*/ 430441 h 3032924"/>
                <a:gd name="connsiteX27" fmla="*/ 1576606 w 3239999"/>
                <a:gd name="connsiteY27" fmla="*/ 526981 h 3032924"/>
                <a:gd name="connsiteX28" fmla="*/ 1576606 w 3239999"/>
                <a:gd name="connsiteY28" fmla="*/ 2765302 h 3032924"/>
                <a:gd name="connsiteX29" fmla="*/ 378630 w 3239999"/>
                <a:gd name="connsiteY29" fmla="*/ 2472117 h 3032924"/>
                <a:gd name="connsiteX30" fmla="*/ 384918 w 3239999"/>
                <a:gd name="connsiteY30" fmla="*/ 526981 h 3032924"/>
                <a:gd name="connsiteX31" fmla="*/ 239143 w 3239999"/>
                <a:gd name="connsiteY31" fmla="*/ 526981 h 3032924"/>
                <a:gd name="connsiteX32" fmla="*/ 229618 w 3239999"/>
                <a:gd name="connsiteY32" fmla="*/ 2690698 h 3032924"/>
                <a:gd name="connsiteX33" fmla="*/ 1576606 w 3239999"/>
                <a:gd name="connsiteY33" fmla="*/ 2776423 h 3032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3239999" h="3032924">
                  <a:moveTo>
                    <a:pt x="1576606" y="2778202"/>
                  </a:moveTo>
                  <a:cubicBezTo>
                    <a:pt x="1576606" y="2778795"/>
                    <a:pt x="1663394" y="2792670"/>
                    <a:pt x="1663394" y="2778202"/>
                  </a:cubicBezTo>
                  <a:lnTo>
                    <a:pt x="1663394" y="2776423"/>
                  </a:lnTo>
                  <a:cubicBezTo>
                    <a:pt x="2185083" y="2605634"/>
                    <a:pt x="2444552" y="2500589"/>
                    <a:pt x="2991331" y="2709748"/>
                  </a:cubicBezTo>
                  <a:lnTo>
                    <a:pt x="3000856" y="526981"/>
                  </a:lnTo>
                  <a:lnTo>
                    <a:pt x="2855082" y="526981"/>
                  </a:lnTo>
                  <a:cubicBezTo>
                    <a:pt x="2857178" y="1175360"/>
                    <a:pt x="2859273" y="1823738"/>
                    <a:pt x="2861369" y="2472117"/>
                  </a:cubicBezTo>
                  <a:cubicBezTo>
                    <a:pt x="2483869" y="2318121"/>
                    <a:pt x="2052449" y="2439541"/>
                    <a:pt x="1663394" y="2765302"/>
                  </a:cubicBezTo>
                  <a:lnTo>
                    <a:pt x="1663394" y="526981"/>
                  </a:lnTo>
                  <a:lnTo>
                    <a:pt x="1663394" y="430441"/>
                  </a:lnTo>
                  <a:lnTo>
                    <a:pt x="1663394" y="402054"/>
                  </a:lnTo>
                  <a:cubicBezTo>
                    <a:pt x="1896442" y="149589"/>
                    <a:pt x="2115835" y="2106"/>
                    <a:pt x="2406065" y="22"/>
                  </a:cubicBezTo>
                  <a:cubicBezTo>
                    <a:pt x="2537987" y="-925"/>
                    <a:pt x="2684544" y="28169"/>
                    <a:pt x="2853673" y="91100"/>
                  </a:cubicBezTo>
                  <a:cubicBezTo>
                    <a:pt x="2854039" y="204214"/>
                    <a:pt x="2854404" y="317327"/>
                    <a:pt x="2854770" y="430441"/>
                  </a:cubicBezTo>
                  <a:lnTo>
                    <a:pt x="3120669" y="428517"/>
                  </a:lnTo>
                  <a:lnTo>
                    <a:pt x="3120669" y="738345"/>
                  </a:lnTo>
                  <a:lnTo>
                    <a:pt x="3239999" y="738345"/>
                  </a:lnTo>
                  <a:lnTo>
                    <a:pt x="3239999" y="3032924"/>
                  </a:lnTo>
                  <a:lnTo>
                    <a:pt x="0" y="3032924"/>
                  </a:lnTo>
                  <a:lnTo>
                    <a:pt x="0" y="738345"/>
                  </a:lnTo>
                  <a:lnTo>
                    <a:pt x="102477" y="738345"/>
                  </a:lnTo>
                  <a:lnTo>
                    <a:pt x="102477" y="428517"/>
                  </a:lnTo>
                  <a:lnTo>
                    <a:pt x="385229" y="430441"/>
                  </a:lnTo>
                  <a:cubicBezTo>
                    <a:pt x="385595" y="317327"/>
                    <a:pt x="385960" y="204214"/>
                    <a:pt x="386326" y="91100"/>
                  </a:cubicBezTo>
                  <a:cubicBezTo>
                    <a:pt x="555455" y="28169"/>
                    <a:pt x="702013" y="-925"/>
                    <a:pt x="833935" y="22"/>
                  </a:cubicBezTo>
                  <a:cubicBezTo>
                    <a:pt x="1124164" y="2106"/>
                    <a:pt x="1343558" y="149589"/>
                    <a:pt x="1576606" y="402054"/>
                  </a:cubicBezTo>
                  <a:lnTo>
                    <a:pt x="1576606" y="430441"/>
                  </a:lnTo>
                  <a:lnTo>
                    <a:pt x="1576606" y="526981"/>
                  </a:lnTo>
                  <a:lnTo>
                    <a:pt x="1576606" y="2765302"/>
                  </a:lnTo>
                  <a:cubicBezTo>
                    <a:pt x="1187550" y="2439541"/>
                    <a:pt x="756130" y="2318121"/>
                    <a:pt x="378630" y="2472117"/>
                  </a:cubicBezTo>
                  <a:lnTo>
                    <a:pt x="384918" y="526981"/>
                  </a:lnTo>
                  <a:lnTo>
                    <a:pt x="239143" y="526981"/>
                  </a:lnTo>
                  <a:lnTo>
                    <a:pt x="229618" y="2690698"/>
                  </a:lnTo>
                  <a:cubicBezTo>
                    <a:pt x="773243" y="2466244"/>
                    <a:pt x="1081748" y="2626096"/>
                    <a:pt x="1576606" y="2776423"/>
                  </a:cubicBezTo>
                </a:path>
              </a:pathLst>
            </a:custGeom>
            <a:solidFill>
              <a:schemeClr val="tx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685800" latinLnBrk="1">
                <a:buClrTx/>
                <a:defRPr/>
              </a:pPr>
              <a:endParaRPr lang="ko-KR" altLang="en-US" sz="1350">
                <a:solidFill>
                  <a:prstClr val="white"/>
                </a:solidFill>
                <a:latin typeface="+mj-lt"/>
                <a:ea typeface="Arial Unicode MS"/>
                <a:cs typeface="+mn-cs"/>
              </a:endParaRPr>
            </a:p>
          </p:txBody>
        </p:sp>
        <p:cxnSp>
          <p:nvCxnSpPr>
            <p:cNvPr id="155" name="Straight Connector 154">
              <a:extLst>
                <a:ext uri="{FF2B5EF4-FFF2-40B4-BE49-F238E27FC236}">
                  <a16:creationId xmlns:a16="http://schemas.microsoft.com/office/drawing/2014/main" id="{E8C5F1DD-9143-42CD-A836-D6315958426F}"/>
                </a:ext>
              </a:extLst>
            </p:cNvPr>
            <p:cNvCxnSpPr>
              <a:cxnSpLocks/>
              <a:stCxn id="142" idx="4"/>
            </p:cNvCxnSpPr>
            <p:nvPr/>
          </p:nvCxnSpPr>
          <p:spPr>
            <a:xfrm>
              <a:off x="3985351" y="3601338"/>
              <a:ext cx="32" cy="601556"/>
            </a:xfrm>
            <a:prstGeom prst="line">
              <a:avLst/>
            </a:prstGeom>
            <a:noFill/>
            <a:ln w="38100" cap="flat" cmpd="sng" algn="ctr">
              <a:solidFill>
                <a:schemeClr val="bg1">
                  <a:lumMod val="95000"/>
                </a:schemeClr>
              </a:solidFill>
              <a:prstDash val="solid"/>
            </a:ln>
            <a:effectLst/>
          </p:spPr>
        </p:cxnSp>
        <p:cxnSp>
          <p:nvCxnSpPr>
            <p:cNvPr id="156" name="Straight Connector 155">
              <a:extLst>
                <a:ext uri="{FF2B5EF4-FFF2-40B4-BE49-F238E27FC236}">
                  <a16:creationId xmlns:a16="http://schemas.microsoft.com/office/drawing/2014/main" id="{3D798813-F0B7-403E-9C5C-B47D45902D66}"/>
                </a:ext>
              </a:extLst>
            </p:cNvPr>
            <p:cNvCxnSpPr>
              <a:stCxn id="143" idx="4"/>
            </p:cNvCxnSpPr>
            <p:nvPr/>
          </p:nvCxnSpPr>
          <p:spPr>
            <a:xfrm>
              <a:off x="4934415" y="3189392"/>
              <a:ext cx="2468" cy="601556"/>
            </a:xfrm>
            <a:prstGeom prst="line">
              <a:avLst/>
            </a:prstGeom>
            <a:noFill/>
            <a:ln w="38100" cap="flat" cmpd="sng" algn="ctr">
              <a:solidFill>
                <a:schemeClr val="bg1">
                  <a:lumMod val="95000"/>
                </a:schemeClr>
              </a:solidFill>
              <a:prstDash val="solid"/>
            </a:ln>
            <a:effectLst/>
          </p:spPr>
        </p:cxnSp>
        <p:cxnSp>
          <p:nvCxnSpPr>
            <p:cNvPr id="157" name="Straight Connector 156">
              <a:extLst>
                <a:ext uri="{FF2B5EF4-FFF2-40B4-BE49-F238E27FC236}">
                  <a16:creationId xmlns:a16="http://schemas.microsoft.com/office/drawing/2014/main" id="{23BD08BD-B685-47C9-82BB-7FE625A4605D}"/>
                </a:ext>
              </a:extLst>
            </p:cNvPr>
            <p:cNvCxnSpPr>
              <a:cxnSpLocks/>
            </p:cNvCxnSpPr>
            <p:nvPr/>
          </p:nvCxnSpPr>
          <p:spPr>
            <a:xfrm>
              <a:off x="5879192" y="2777448"/>
              <a:ext cx="4904" cy="601556"/>
            </a:xfrm>
            <a:prstGeom prst="line">
              <a:avLst/>
            </a:prstGeom>
            <a:noFill/>
            <a:ln w="38100" cap="flat" cmpd="sng" algn="ctr">
              <a:solidFill>
                <a:schemeClr val="bg1">
                  <a:lumMod val="95000"/>
                </a:schemeClr>
              </a:solidFill>
              <a:prstDash val="solid"/>
            </a:ln>
            <a:effectLst/>
          </p:spPr>
        </p:cxnSp>
        <p:cxnSp>
          <p:nvCxnSpPr>
            <p:cNvPr id="158" name="Straight Connector 157">
              <a:extLst>
                <a:ext uri="{FF2B5EF4-FFF2-40B4-BE49-F238E27FC236}">
                  <a16:creationId xmlns:a16="http://schemas.microsoft.com/office/drawing/2014/main" id="{CEF794E3-84BF-424A-8F35-1437E29DA4B2}"/>
                </a:ext>
              </a:extLst>
            </p:cNvPr>
            <p:cNvCxnSpPr>
              <a:stCxn id="145" idx="4"/>
            </p:cNvCxnSpPr>
            <p:nvPr/>
          </p:nvCxnSpPr>
          <p:spPr>
            <a:xfrm>
              <a:off x="6852102" y="2365504"/>
              <a:ext cx="7340" cy="601556"/>
            </a:xfrm>
            <a:prstGeom prst="line">
              <a:avLst/>
            </a:prstGeom>
            <a:noFill/>
            <a:ln w="38100" cap="flat" cmpd="sng" algn="ctr">
              <a:solidFill>
                <a:schemeClr val="bg1">
                  <a:lumMod val="95000"/>
                </a:schemeClr>
              </a:solidFill>
              <a:prstDash val="solid"/>
            </a:ln>
            <a:effectLst/>
          </p:spPr>
        </p:cxnSp>
        <p:cxnSp>
          <p:nvCxnSpPr>
            <p:cNvPr id="159" name="Straight Connector 158">
              <a:extLst>
                <a:ext uri="{FF2B5EF4-FFF2-40B4-BE49-F238E27FC236}">
                  <a16:creationId xmlns:a16="http://schemas.microsoft.com/office/drawing/2014/main" id="{AE5BC621-8E99-4007-B971-2C17851136D1}"/>
                </a:ext>
              </a:extLst>
            </p:cNvPr>
            <p:cNvCxnSpPr>
              <a:stCxn id="146" idx="4"/>
            </p:cNvCxnSpPr>
            <p:nvPr/>
          </p:nvCxnSpPr>
          <p:spPr>
            <a:xfrm flipH="1">
              <a:off x="7777928" y="1945810"/>
              <a:ext cx="3678" cy="601556"/>
            </a:xfrm>
            <a:prstGeom prst="line">
              <a:avLst/>
            </a:prstGeom>
            <a:noFill/>
            <a:ln w="38100" cap="flat" cmpd="sng" algn="ctr">
              <a:solidFill>
                <a:schemeClr val="bg1">
                  <a:lumMod val="95000"/>
                </a:schemeClr>
              </a:solidFill>
              <a:prstDash val="solid"/>
            </a:ln>
            <a:effectLst/>
          </p:spPr>
        </p:cxnSp>
        <p:sp>
          <p:nvSpPr>
            <p:cNvPr id="90" name="Dashed line 6a">
              <a:extLst>
                <a:ext uri="{FF2B5EF4-FFF2-40B4-BE49-F238E27FC236}">
                  <a16:creationId xmlns:a16="http://schemas.microsoft.com/office/drawing/2014/main" id="{D1E73E53-344B-4559-8AAF-F0106C5BEBE1}"/>
                </a:ext>
              </a:extLst>
            </p:cNvPr>
            <p:cNvSpPr/>
            <p:nvPr/>
          </p:nvSpPr>
          <p:spPr>
            <a:xfrm rot="18900000" flipH="1">
              <a:off x="3561591" y="2718373"/>
              <a:ext cx="989222" cy="911094"/>
            </a:xfrm>
            <a:prstGeom prst="arc">
              <a:avLst>
                <a:gd name="adj1" fmla="val 19825202"/>
                <a:gd name="adj2" fmla="val 1688680"/>
              </a:avLst>
            </a:prstGeom>
            <a:ln>
              <a:solidFill>
                <a:srgbClr val="B7DEE8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kumimoji="1" lang="ja-JP" altLang="en-US" sz="1050">
                <a:latin typeface="+mj-lt"/>
              </a:endParaRPr>
            </a:p>
          </p:txBody>
        </p:sp>
        <p:cxnSp>
          <p:nvCxnSpPr>
            <p:cNvPr id="91" name="Dashed line 6b">
              <a:extLst>
                <a:ext uri="{FF2B5EF4-FFF2-40B4-BE49-F238E27FC236}">
                  <a16:creationId xmlns:a16="http://schemas.microsoft.com/office/drawing/2014/main" id="{4674675E-227F-4E73-9A65-4B5D1E4A482B}"/>
                </a:ext>
              </a:extLst>
            </p:cNvPr>
            <p:cNvCxnSpPr>
              <a:cxnSpLocks/>
              <a:stCxn id="90" idx="0"/>
            </p:cNvCxnSpPr>
            <p:nvPr/>
          </p:nvCxnSpPr>
          <p:spPr>
            <a:xfrm flipH="1" flipV="1">
              <a:off x="2531233" y="3302373"/>
              <a:ext cx="1058225" cy="285"/>
            </a:xfrm>
            <a:prstGeom prst="line">
              <a:avLst/>
            </a:prstGeom>
            <a:ln w="12700">
              <a:solidFill>
                <a:schemeClr val="tx1"/>
              </a:solidFill>
              <a:prstDash val="dash"/>
              <a:tailEnd type="oval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9" name="Dashed line 6a">
              <a:extLst>
                <a:ext uri="{FF2B5EF4-FFF2-40B4-BE49-F238E27FC236}">
                  <a16:creationId xmlns:a16="http://schemas.microsoft.com/office/drawing/2014/main" id="{50DA5AB4-A793-412B-9C01-F55CACBAECB9}"/>
                </a:ext>
              </a:extLst>
            </p:cNvPr>
            <p:cNvSpPr/>
            <p:nvPr/>
          </p:nvSpPr>
          <p:spPr>
            <a:xfrm rot="18900000" flipH="1">
              <a:off x="4517736" y="2425230"/>
              <a:ext cx="788497" cy="818555"/>
            </a:xfrm>
            <a:prstGeom prst="arc">
              <a:avLst>
                <a:gd name="adj1" fmla="val 18016200"/>
                <a:gd name="adj2" fmla="val 890495"/>
              </a:avLst>
            </a:prstGeom>
            <a:ln>
              <a:solidFill>
                <a:srgbClr val="93CDDD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kumimoji="1" lang="ja-JP" altLang="en-US" sz="1050" dirty="0">
                <a:latin typeface="+mj-lt"/>
              </a:endParaRPr>
            </a:p>
          </p:txBody>
        </p:sp>
        <p:cxnSp>
          <p:nvCxnSpPr>
            <p:cNvPr id="100" name="Dashed line 6b">
              <a:extLst>
                <a:ext uri="{FF2B5EF4-FFF2-40B4-BE49-F238E27FC236}">
                  <a16:creationId xmlns:a16="http://schemas.microsoft.com/office/drawing/2014/main" id="{3077BA40-9AFE-4AF2-B464-5AAE01233425}"/>
                </a:ext>
              </a:extLst>
            </p:cNvPr>
            <p:cNvCxnSpPr>
              <a:cxnSpLocks/>
              <a:stCxn id="99" idx="0"/>
            </p:cNvCxnSpPr>
            <p:nvPr/>
          </p:nvCxnSpPr>
          <p:spPr>
            <a:xfrm flipH="1" flipV="1">
              <a:off x="3161818" y="2722929"/>
              <a:ext cx="1358189" cy="8527"/>
            </a:xfrm>
            <a:prstGeom prst="line">
              <a:avLst/>
            </a:prstGeom>
            <a:ln w="12700">
              <a:solidFill>
                <a:schemeClr val="tx1"/>
              </a:solidFill>
              <a:prstDash val="dash"/>
              <a:tailEnd type="oval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0" name="Dashed line 6a">
              <a:extLst>
                <a:ext uri="{FF2B5EF4-FFF2-40B4-BE49-F238E27FC236}">
                  <a16:creationId xmlns:a16="http://schemas.microsoft.com/office/drawing/2014/main" id="{957B101D-F2F5-477F-9411-8E2537857DD1}"/>
                </a:ext>
              </a:extLst>
            </p:cNvPr>
            <p:cNvSpPr/>
            <p:nvPr/>
          </p:nvSpPr>
          <p:spPr>
            <a:xfrm rot="18900000" flipH="1">
              <a:off x="5485162" y="2003163"/>
              <a:ext cx="802665" cy="871697"/>
            </a:xfrm>
            <a:prstGeom prst="arc">
              <a:avLst>
                <a:gd name="adj1" fmla="val 16434126"/>
                <a:gd name="adj2" fmla="val 20923872"/>
              </a:avLst>
            </a:prstGeom>
            <a:ln>
              <a:solidFill>
                <a:srgbClr val="31859C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kumimoji="1" lang="ja-JP" altLang="en-US" sz="1050" dirty="0">
                <a:latin typeface="+mj-lt"/>
              </a:endParaRPr>
            </a:p>
          </p:txBody>
        </p:sp>
        <p:cxnSp>
          <p:nvCxnSpPr>
            <p:cNvPr id="111" name="Dashed line 6b">
              <a:extLst>
                <a:ext uri="{FF2B5EF4-FFF2-40B4-BE49-F238E27FC236}">
                  <a16:creationId xmlns:a16="http://schemas.microsoft.com/office/drawing/2014/main" id="{56957A26-8860-46FE-9673-6F2A6AEDAEE5}"/>
                </a:ext>
              </a:extLst>
            </p:cNvPr>
            <p:cNvCxnSpPr>
              <a:cxnSpLocks/>
              <a:stCxn id="110" idx="0"/>
            </p:cNvCxnSpPr>
            <p:nvPr/>
          </p:nvCxnSpPr>
          <p:spPr>
            <a:xfrm flipH="1" flipV="1">
              <a:off x="4119062" y="2150703"/>
              <a:ext cx="1439118" cy="1923"/>
            </a:xfrm>
            <a:prstGeom prst="line">
              <a:avLst/>
            </a:prstGeom>
            <a:ln w="12700">
              <a:solidFill>
                <a:schemeClr val="tx1"/>
              </a:solidFill>
              <a:prstDash val="dash"/>
              <a:tailEnd type="oval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2" name="Dashed line 6a">
              <a:extLst>
                <a:ext uri="{FF2B5EF4-FFF2-40B4-BE49-F238E27FC236}">
                  <a16:creationId xmlns:a16="http://schemas.microsoft.com/office/drawing/2014/main" id="{333A814A-1D73-4D40-B531-7F0221F9A026}"/>
                </a:ext>
              </a:extLst>
            </p:cNvPr>
            <p:cNvSpPr/>
            <p:nvPr/>
          </p:nvSpPr>
          <p:spPr>
            <a:xfrm rot="18900000" flipH="1">
              <a:off x="6459640" y="1587978"/>
              <a:ext cx="802665" cy="871697"/>
            </a:xfrm>
            <a:prstGeom prst="arc">
              <a:avLst>
                <a:gd name="adj1" fmla="val 14911297"/>
                <a:gd name="adj2" fmla="val 19550846"/>
              </a:avLst>
            </a:prstGeom>
            <a:ln>
              <a:solidFill>
                <a:srgbClr val="215968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kumimoji="1" lang="ja-JP" altLang="en-US" sz="1050" dirty="0">
                <a:latin typeface="+mj-lt"/>
              </a:endParaRPr>
            </a:p>
          </p:txBody>
        </p:sp>
        <p:cxnSp>
          <p:nvCxnSpPr>
            <p:cNvPr id="153" name="Dashed line 6b">
              <a:extLst>
                <a:ext uri="{FF2B5EF4-FFF2-40B4-BE49-F238E27FC236}">
                  <a16:creationId xmlns:a16="http://schemas.microsoft.com/office/drawing/2014/main" id="{5877C1E6-3A67-4A22-8BCE-A36FDACF194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657807" y="1630737"/>
              <a:ext cx="1031276" cy="14692"/>
            </a:xfrm>
            <a:prstGeom prst="line">
              <a:avLst/>
            </a:prstGeom>
            <a:ln w="12700">
              <a:solidFill>
                <a:schemeClr val="tx1"/>
              </a:solidFill>
              <a:prstDash val="dash"/>
              <a:tailEnd type="oval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4" name="Dashed line 6a">
              <a:extLst>
                <a:ext uri="{FF2B5EF4-FFF2-40B4-BE49-F238E27FC236}">
                  <a16:creationId xmlns:a16="http://schemas.microsoft.com/office/drawing/2014/main" id="{8218E3A0-25BC-4B5C-97A1-34F4A8355B0F}"/>
                </a:ext>
              </a:extLst>
            </p:cNvPr>
            <p:cNvSpPr/>
            <p:nvPr/>
          </p:nvSpPr>
          <p:spPr>
            <a:xfrm rot="18900000" flipH="1">
              <a:off x="7389947" y="1165224"/>
              <a:ext cx="794462" cy="872319"/>
            </a:xfrm>
            <a:prstGeom prst="arc">
              <a:avLst>
                <a:gd name="adj1" fmla="val 14911297"/>
                <a:gd name="adj2" fmla="val 19550846"/>
              </a:avLst>
            </a:prstGeom>
            <a:ln>
              <a:solidFill>
                <a:srgbClr val="143740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kumimoji="1" lang="ja-JP" altLang="en-US" sz="1050" dirty="0">
                <a:latin typeface="+mj-lt"/>
              </a:endParaRPr>
            </a:p>
          </p:txBody>
        </p:sp>
        <p:cxnSp>
          <p:nvCxnSpPr>
            <p:cNvPr id="160" name="Dashed line 6b">
              <a:extLst>
                <a:ext uri="{FF2B5EF4-FFF2-40B4-BE49-F238E27FC236}">
                  <a16:creationId xmlns:a16="http://schemas.microsoft.com/office/drawing/2014/main" id="{E55BED28-54C5-4280-A349-3C82F7448DAA}"/>
                </a:ext>
              </a:extLst>
            </p:cNvPr>
            <p:cNvCxnSpPr>
              <a:cxnSpLocks/>
              <a:stCxn id="154" idx="0"/>
            </p:cNvCxnSpPr>
            <p:nvPr/>
          </p:nvCxnSpPr>
          <p:spPr>
            <a:xfrm flipH="1">
              <a:off x="7325645" y="1206866"/>
              <a:ext cx="289815" cy="5149"/>
            </a:xfrm>
            <a:prstGeom prst="line">
              <a:avLst/>
            </a:prstGeom>
            <a:ln w="12700">
              <a:solidFill>
                <a:schemeClr val="tx1"/>
              </a:solidFill>
              <a:prstDash val="dash"/>
              <a:tailEnd type="oval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4270CD4A-D7C3-4578-AE8D-2C7BC2ABE42A}"/>
                </a:ext>
              </a:extLst>
            </p:cNvPr>
            <p:cNvSpPr txBox="1"/>
            <p:nvPr/>
          </p:nvSpPr>
          <p:spPr>
            <a:xfrm>
              <a:off x="60993" y="3173920"/>
              <a:ext cx="2528395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b="1" dirty="0">
                  <a:solidFill>
                    <a:schemeClr val="dk2"/>
                  </a:solidFill>
                  <a:latin typeface="+mj-lt"/>
                </a:rPr>
                <a:t>Limited Access to Direct Customer Data:</a:t>
              </a:r>
            </a:p>
            <a:p>
              <a:r>
                <a:rPr lang="en-US" sz="1000" dirty="0">
                  <a:solidFill>
                    <a:schemeClr val="dk2"/>
                  </a:solidFill>
                  <a:latin typeface="+mj-lt"/>
                </a:rPr>
                <a:t>Wholesalers struggle with a lack of direct customer data, which limits insight into market trends and consumer buying behaviors.</a:t>
              </a:r>
              <a:endParaRPr lang="en-US" sz="1000" dirty="0">
                <a:solidFill>
                  <a:schemeClr val="dk2"/>
                </a:solidFill>
                <a:latin typeface="+mj-lt"/>
                <a:sym typeface="Montserrat"/>
              </a:endParaRPr>
            </a:p>
          </p:txBody>
        </p:sp>
        <p:sp>
          <p:nvSpPr>
            <p:cNvPr id="70" name="Parallelogram 69">
              <a:extLst>
                <a:ext uri="{FF2B5EF4-FFF2-40B4-BE49-F238E27FC236}">
                  <a16:creationId xmlns:a16="http://schemas.microsoft.com/office/drawing/2014/main" id="{033AD34A-C440-4BCC-8E2C-F91384C4B564}"/>
                </a:ext>
              </a:extLst>
            </p:cNvPr>
            <p:cNvSpPr/>
            <p:nvPr/>
          </p:nvSpPr>
          <p:spPr>
            <a:xfrm flipH="1">
              <a:off x="3383761" y="4057414"/>
              <a:ext cx="1203245" cy="298147"/>
            </a:xfrm>
            <a:prstGeom prst="parallelogram">
              <a:avLst>
                <a:gd name="adj" fmla="val 82205"/>
              </a:avLst>
            </a:prstGeom>
            <a:solidFill>
              <a:srgbClr val="84C6D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>
                <a:latin typeface="+mj-lt"/>
              </a:endParaRPr>
            </a:p>
          </p:txBody>
        </p:sp>
        <p:sp>
          <p:nvSpPr>
            <p:cNvPr id="71" name="Parallelogram 70">
              <a:extLst>
                <a:ext uri="{FF2B5EF4-FFF2-40B4-BE49-F238E27FC236}">
                  <a16:creationId xmlns:a16="http://schemas.microsoft.com/office/drawing/2014/main" id="{DA95DE3C-F0E3-4FE8-ADF7-2C9EF65BC36D}"/>
                </a:ext>
              </a:extLst>
            </p:cNvPr>
            <p:cNvSpPr/>
            <p:nvPr/>
          </p:nvSpPr>
          <p:spPr>
            <a:xfrm rot="16200000" flipH="1" flipV="1">
              <a:off x="3145802" y="4295375"/>
              <a:ext cx="709858" cy="233939"/>
            </a:xfrm>
            <a:prstGeom prst="parallelogram">
              <a:avLst>
                <a:gd name="adj" fmla="val 122662"/>
              </a:avLst>
            </a:prstGeom>
            <a:solidFill>
              <a:srgbClr val="B7DEE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72" name="Parallelogram 71">
              <a:extLst>
                <a:ext uri="{FF2B5EF4-FFF2-40B4-BE49-F238E27FC236}">
                  <a16:creationId xmlns:a16="http://schemas.microsoft.com/office/drawing/2014/main" id="{E2E3B2EE-7D38-462F-919D-FB5C9D7704F0}"/>
                </a:ext>
              </a:extLst>
            </p:cNvPr>
            <p:cNvSpPr/>
            <p:nvPr/>
          </p:nvSpPr>
          <p:spPr>
            <a:xfrm flipH="1">
              <a:off x="2417689" y="4469126"/>
              <a:ext cx="1203245" cy="298147"/>
            </a:xfrm>
            <a:prstGeom prst="parallelogram">
              <a:avLst>
                <a:gd name="adj" fmla="val 82205"/>
              </a:avLst>
            </a:prstGeom>
            <a:solidFill>
              <a:srgbClr val="D1EEF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>
                <a:latin typeface="+mj-lt"/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9C134D56-DA7E-4793-ACD0-1144F49B77CB}"/>
                </a:ext>
              </a:extLst>
            </p:cNvPr>
            <p:cNvSpPr/>
            <p:nvPr/>
          </p:nvSpPr>
          <p:spPr>
            <a:xfrm>
              <a:off x="342899" y="4469837"/>
              <a:ext cx="2780493" cy="297436"/>
            </a:xfrm>
            <a:prstGeom prst="rect">
              <a:avLst/>
            </a:prstGeom>
            <a:solidFill>
              <a:srgbClr val="D1EEF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>
                <a:latin typeface="+mj-lt"/>
              </a:endParaRPr>
            </a:p>
          </p:txBody>
        </p:sp>
        <p:sp>
          <p:nvSpPr>
            <p:cNvPr id="76" name="Parallelogram 75">
              <a:extLst>
                <a:ext uri="{FF2B5EF4-FFF2-40B4-BE49-F238E27FC236}">
                  <a16:creationId xmlns:a16="http://schemas.microsoft.com/office/drawing/2014/main" id="{00C1D3F9-DD8B-4947-827A-10C69F8781FB}"/>
                </a:ext>
              </a:extLst>
            </p:cNvPr>
            <p:cNvSpPr/>
            <p:nvPr/>
          </p:nvSpPr>
          <p:spPr>
            <a:xfrm rot="16200000" flipH="1" flipV="1">
              <a:off x="4093938" y="3881603"/>
              <a:ext cx="709858" cy="233939"/>
            </a:xfrm>
            <a:prstGeom prst="parallelogram">
              <a:avLst>
                <a:gd name="adj" fmla="val 122662"/>
              </a:avLst>
            </a:prstGeom>
            <a:solidFill>
              <a:srgbClr val="93CDD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50">
                <a:latin typeface="+mj-lt"/>
              </a:endParaRPr>
            </a:p>
          </p:txBody>
        </p:sp>
        <p:sp>
          <p:nvSpPr>
            <p:cNvPr id="77" name="Parallelogram 76">
              <a:extLst>
                <a:ext uri="{FF2B5EF4-FFF2-40B4-BE49-F238E27FC236}">
                  <a16:creationId xmlns:a16="http://schemas.microsoft.com/office/drawing/2014/main" id="{7574CB40-83CC-403E-91EB-20F9489F9991}"/>
                </a:ext>
              </a:extLst>
            </p:cNvPr>
            <p:cNvSpPr/>
            <p:nvPr/>
          </p:nvSpPr>
          <p:spPr>
            <a:xfrm flipH="1">
              <a:off x="3383761" y="4057415"/>
              <a:ext cx="1203245" cy="298147"/>
            </a:xfrm>
            <a:prstGeom prst="parallelogram">
              <a:avLst>
                <a:gd name="adj" fmla="val 82205"/>
              </a:avLst>
            </a:prstGeom>
            <a:solidFill>
              <a:srgbClr val="84C6D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>
                <a:latin typeface="+mj-lt"/>
              </a:endParaRPr>
            </a:p>
          </p:txBody>
        </p:sp>
        <p:sp>
          <p:nvSpPr>
            <p:cNvPr id="78" name="Parallelogram 77">
              <a:extLst>
                <a:ext uri="{FF2B5EF4-FFF2-40B4-BE49-F238E27FC236}">
                  <a16:creationId xmlns:a16="http://schemas.microsoft.com/office/drawing/2014/main" id="{849F4463-2276-4983-B743-6D2E8104230F}"/>
                </a:ext>
              </a:extLst>
            </p:cNvPr>
            <p:cNvSpPr/>
            <p:nvPr/>
          </p:nvSpPr>
          <p:spPr>
            <a:xfrm rot="16200000" flipH="1" flipV="1">
              <a:off x="3145802" y="4295376"/>
              <a:ext cx="709858" cy="233939"/>
            </a:xfrm>
            <a:prstGeom prst="parallelogram">
              <a:avLst>
                <a:gd name="adj" fmla="val 122662"/>
              </a:avLst>
            </a:prstGeom>
            <a:solidFill>
              <a:srgbClr val="B7DEE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79" name="Parallelogram 78">
              <a:extLst>
                <a:ext uri="{FF2B5EF4-FFF2-40B4-BE49-F238E27FC236}">
                  <a16:creationId xmlns:a16="http://schemas.microsoft.com/office/drawing/2014/main" id="{D9213AFF-AE86-4BDF-9976-6E5D3AA19CCD}"/>
                </a:ext>
              </a:extLst>
            </p:cNvPr>
            <p:cNvSpPr/>
            <p:nvPr/>
          </p:nvSpPr>
          <p:spPr>
            <a:xfrm flipH="1">
              <a:off x="2417689" y="4469127"/>
              <a:ext cx="1203245" cy="298147"/>
            </a:xfrm>
            <a:prstGeom prst="parallelogram">
              <a:avLst>
                <a:gd name="adj" fmla="val 82205"/>
              </a:avLst>
            </a:prstGeom>
            <a:solidFill>
              <a:srgbClr val="D1EEF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>
                <a:latin typeface="+mj-lt"/>
              </a:endParaRPr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240BD8A4-9A1D-486C-9294-EF7D1AF50189}"/>
                </a:ext>
              </a:extLst>
            </p:cNvPr>
            <p:cNvSpPr/>
            <p:nvPr/>
          </p:nvSpPr>
          <p:spPr>
            <a:xfrm>
              <a:off x="342899" y="4469838"/>
              <a:ext cx="2780493" cy="297436"/>
            </a:xfrm>
            <a:prstGeom prst="rect">
              <a:avLst/>
            </a:prstGeom>
            <a:solidFill>
              <a:srgbClr val="D1EEF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>
                <a:latin typeface="+mj-lt"/>
              </a:endParaRPr>
            </a:p>
          </p:txBody>
        </p:sp>
        <p:sp>
          <p:nvSpPr>
            <p:cNvPr id="81" name="Parallelogram 80">
              <a:extLst>
                <a:ext uri="{FF2B5EF4-FFF2-40B4-BE49-F238E27FC236}">
                  <a16:creationId xmlns:a16="http://schemas.microsoft.com/office/drawing/2014/main" id="{7BA3E8A5-CE1D-4660-B782-6A24616BC3E7}"/>
                </a:ext>
              </a:extLst>
            </p:cNvPr>
            <p:cNvSpPr/>
            <p:nvPr/>
          </p:nvSpPr>
          <p:spPr>
            <a:xfrm flipH="1">
              <a:off x="4331898" y="3643642"/>
              <a:ext cx="1203245" cy="298147"/>
            </a:xfrm>
            <a:prstGeom prst="parallelogram">
              <a:avLst>
                <a:gd name="adj" fmla="val 82205"/>
              </a:avLst>
            </a:prstGeom>
            <a:solidFill>
              <a:srgbClr val="73BE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50">
                <a:latin typeface="+mj-lt"/>
              </a:endParaRPr>
            </a:p>
          </p:txBody>
        </p:sp>
        <p:sp>
          <p:nvSpPr>
            <p:cNvPr id="82" name="Parallelogram 81">
              <a:extLst>
                <a:ext uri="{FF2B5EF4-FFF2-40B4-BE49-F238E27FC236}">
                  <a16:creationId xmlns:a16="http://schemas.microsoft.com/office/drawing/2014/main" id="{9C4AF783-212C-4890-8B87-DC6EE8CA70B4}"/>
                </a:ext>
              </a:extLst>
            </p:cNvPr>
            <p:cNvSpPr/>
            <p:nvPr/>
          </p:nvSpPr>
          <p:spPr>
            <a:xfrm rot="16200000" flipH="1" flipV="1">
              <a:off x="5059407" y="3469251"/>
              <a:ext cx="709858" cy="233939"/>
            </a:xfrm>
            <a:prstGeom prst="parallelogram">
              <a:avLst>
                <a:gd name="adj" fmla="val 122662"/>
              </a:avLst>
            </a:prstGeom>
            <a:solidFill>
              <a:srgbClr val="3185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50">
                <a:latin typeface="+mj-lt"/>
              </a:endParaRPr>
            </a:p>
          </p:txBody>
        </p:sp>
        <p:sp>
          <p:nvSpPr>
            <p:cNvPr id="83" name="Parallelogram 82">
              <a:extLst>
                <a:ext uri="{FF2B5EF4-FFF2-40B4-BE49-F238E27FC236}">
                  <a16:creationId xmlns:a16="http://schemas.microsoft.com/office/drawing/2014/main" id="{16B67BA1-E0A8-4CB8-912A-8A6D247FB132}"/>
                </a:ext>
              </a:extLst>
            </p:cNvPr>
            <p:cNvSpPr/>
            <p:nvPr/>
          </p:nvSpPr>
          <p:spPr>
            <a:xfrm rot="16200000" flipH="1" flipV="1">
              <a:off x="4093938" y="3881604"/>
              <a:ext cx="709858" cy="233939"/>
            </a:xfrm>
            <a:prstGeom prst="parallelogram">
              <a:avLst>
                <a:gd name="adj" fmla="val 122662"/>
              </a:avLst>
            </a:prstGeom>
            <a:solidFill>
              <a:srgbClr val="93CDD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50">
                <a:latin typeface="+mj-lt"/>
              </a:endParaRPr>
            </a:p>
          </p:txBody>
        </p:sp>
        <p:sp>
          <p:nvSpPr>
            <p:cNvPr id="84" name="Parallelogram 83">
              <a:extLst>
                <a:ext uri="{FF2B5EF4-FFF2-40B4-BE49-F238E27FC236}">
                  <a16:creationId xmlns:a16="http://schemas.microsoft.com/office/drawing/2014/main" id="{F82CAC37-15E5-42AE-904C-96D2691E4562}"/>
                </a:ext>
              </a:extLst>
            </p:cNvPr>
            <p:cNvSpPr/>
            <p:nvPr/>
          </p:nvSpPr>
          <p:spPr>
            <a:xfrm flipH="1">
              <a:off x="3383761" y="4057416"/>
              <a:ext cx="1203245" cy="298147"/>
            </a:xfrm>
            <a:prstGeom prst="parallelogram">
              <a:avLst>
                <a:gd name="adj" fmla="val 82205"/>
              </a:avLst>
            </a:prstGeom>
            <a:solidFill>
              <a:srgbClr val="84C6D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>
                <a:latin typeface="+mj-lt"/>
              </a:endParaRPr>
            </a:p>
          </p:txBody>
        </p:sp>
        <p:sp>
          <p:nvSpPr>
            <p:cNvPr id="85" name="Parallelogram 84">
              <a:extLst>
                <a:ext uri="{FF2B5EF4-FFF2-40B4-BE49-F238E27FC236}">
                  <a16:creationId xmlns:a16="http://schemas.microsoft.com/office/drawing/2014/main" id="{1383B293-E073-412D-B9AA-9D71BD07345F}"/>
                </a:ext>
              </a:extLst>
            </p:cNvPr>
            <p:cNvSpPr/>
            <p:nvPr/>
          </p:nvSpPr>
          <p:spPr>
            <a:xfrm rot="16200000" flipH="1" flipV="1">
              <a:off x="3145802" y="4295377"/>
              <a:ext cx="709858" cy="233939"/>
            </a:xfrm>
            <a:prstGeom prst="parallelogram">
              <a:avLst>
                <a:gd name="adj" fmla="val 122662"/>
              </a:avLst>
            </a:prstGeom>
            <a:solidFill>
              <a:srgbClr val="B7DEE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86" name="Parallelogram 85">
              <a:extLst>
                <a:ext uri="{FF2B5EF4-FFF2-40B4-BE49-F238E27FC236}">
                  <a16:creationId xmlns:a16="http://schemas.microsoft.com/office/drawing/2014/main" id="{6B4895E4-7EC1-463F-828B-1AF4F68983BA}"/>
                </a:ext>
              </a:extLst>
            </p:cNvPr>
            <p:cNvSpPr/>
            <p:nvPr/>
          </p:nvSpPr>
          <p:spPr>
            <a:xfrm flipH="1">
              <a:off x="2417689" y="4469128"/>
              <a:ext cx="1203245" cy="298147"/>
            </a:xfrm>
            <a:prstGeom prst="parallelogram">
              <a:avLst>
                <a:gd name="adj" fmla="val 82205"/>
              </a:avLst>
            </a:prstGeom>
            <a:solidFill>
              <a:srgbClr val="D1EEF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>
                <a:latin typeface="+mj-lt"/>
              </a:endParaRPr>
            </a:p>
          </p:txBody>
        </p:sp>
        <p:sp>
          <p:nvSpPr>
            <p:cNvPr id="87" name="Rectangle 86">
              <a:extLst>
                <a:ext uri="{FF2B5EF4-FFF2-40B4-BE49-F238E27FC236}">
                  <a16:creationId xmlns:a16="http://schemas.microsoft.com/office/drawing/2014/main" id="{DE02983F-0CFE-40DD-826C-BB0CA667B288}"/>
                </a:ext>
              </a:extLst>
            </p:cNvPr>
            <p:cNvSpPr/>
            <p:nvPr/>
          </p:nvSpPr>
          <p:spPr>
            <a:xfrm>
              <a:off x="342899" y="4469839"/>
              <a:ext cx="2780493" cy="297436"/>
            </a:xfrm>
            <a:prstGeom prst="rect">
              <a:avLst/>
            </a:prstGeom>
            <a:solidFill>
              <a:srgbClr val="D1EEF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>
                <a:latin typeface="+mj-lt"/>
              </a:endParaRPr>
            </a:p>
          </p:txBody>
        </p:sp>
        <p:sp>
          <p:nvSpPr>
            <p:cNvPr id="88" name="Parallelogram 87">
              <a:extLst>
                <a:ext uri="{FF2B5EF4-FFF2-40B4-BE49-F238E27FC236}">
                  <a16:creationId xmlns:a16="http://schemas.microsoft.com/office/drawing/2014/main" id="{84D7D44F-FDCB-46B4-B3D5-F1A2A95E9448}"/>
                </a:ext>
              </a:extLst>
            </p:cNvPr>
            <p:cNvSpPr/>
            <p:nvPr/>
          </p:nvSpPr>
          <p:spPr>
            <a:xfrm flipH="1">
              <a:off x="5297368" y="3231291"/>
              <a:ext cx="1203245" cy="298147"/>
            </a:xfrm>
            <a:prstGeom prst="parallelogram">
              <a:avLst>
                <a:gd name="adj" fmla="val 82205"/>
              </a:avLst>
            </a:prstGeom>
            <a:solidFill>
              <a:srgbClr val="27697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50">
                <a:latin typeface="+mj-lt"/>
              </a:endParaRPr>
            </a:p>
          </p:txBody>
        </p:sp>
        <p:sp>
          <p:nvSpPr>
            <p:cNvPr id="89" name="Parallelogram 88">
              <a:extLst>
                <a:ext uri="{FF2B5EF4-FFF2-40B4-BE49-F238E27FC236}">
                  <a16:creationId xmlns:a16="http://schemas.microsoft.com/office/drawing/2014/main" id="{6BC46592-3CCB-4BDF-B160-D3D1EB805F29}"/>
                </a:ext>
              </a:extLst>
            </p:cNvPr>
            <p:cNvSpPr/>
            <p:nvPr/>
          </p:nvSpPr>
          <p:spPr>
            <a:xfrm rot="16200000" flipH="1" flipV="1">
              <a:off x="6015006" y="3056952"/>
              <a:ext cx="709858" cy="233939"/>
            </a:xfrm>
            <a:prstGeom prst="parallelogram">
              <a:avLst>
                <a:gd name="adj" fmla="val 122662"/>
              </a:avLst>
            </a:prstGeom>
            <a:solidFill>
              <a:srgbClr val="21596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50">
                <a:latin typeface="+mj-lt"/>
              </a:endParaRPr>
            </a:p>
          </p:txBody>
        </p:sp>
        <p:sp>
          <p:nvSpPr>
            <p:cNvPr id="92" name="Parallelogram 91">
              <a:extLst>
                <a:ext uri="{FF2B5EF4-FFF2-40B4-BE49-F238E27FC236}">
                  <a16:creationId xmlns:a16="http://schemas.microsoft.com/office/drawing/2014/main" id="{2DB4E75F-D27D-4279-9EBE-E65A2C2C392E}"/>
                </a:ext>
              </a:extLst>
            </p:cNvPr>
            <p:cNvSpPr/>
            <p:nvPr/>
          </p:nvSpPr>
          <p:spPr>
            <a:xfrm flipH="1">
              <a:off x="4331898" y="3643643"/>
              <a:ext cx="1203245" cy="298147"/>
            </a:xfrm>
            <a:prstGeom prst="parallelogram">
              <a:avLst>
                <a:gd name="adj" fmla="val 82205"/>
              </a:avLst>
            </a:prstGeom>
            <a:solidFill>
              <a:srgbClr val="73BE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50">
                <a:latin typeface="+mj-lt"/>
              </a:endParaRPr>
            </a:p>
          </p:txBody>
        </p:sp>
        <p:sp>
          <p:nvSpPr>
            <p:cNvPr id="93" name="Parallelogram 92">
              <a:extLst>
                <a:ext uri="{FF2B5EF4-FFF2-40B4-BE49-F238E27FC236}">
                  <a16:creationId xmlns:a16="http://schemas.microsoft.com/office/drawing/2014/main" id="{AE4F4401-2858-4CF7-A3D3-25F714495D0B}"/>
                </a:ext>
              </a:extLst>
            </p:cNvPr>
            <p:cNvSpPr/>
            <p:nvPr/>
          </p:nvSpPr>
          <p:spPr>
            <a:xfrm rot="16200000" flipH="1" flipV="1">
              <a:off x="5059407" y="3469252"/>
              <a:ext cx="709858" cy="233939"/>
            </a:xfrm>
            <a:prstGeom prst="parallelogram">
              <a:avLst>
                <a:gd name="adj" fmla="val 122662"/>
              </a:avLst>
            </a:prstGeom>
            <a:solidFill>
              <a:srgbClr val="3185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50">
                <a:latin typeface="+mj-lt"/>
              </a:endParaRPr>
            </a:p>
          </p:txBody>
        </p:sp>
        <p:sp>
          <p:nvSpPr>
            <p:cNvPr id="94" name="Parallelogram 93">
              <a:extLst>
                <a:ext uri="{FF2B5EF4-FFF2-40B4-BE49-F238E27FC236}">
                  <a16:creationId xmlns:a16="http://schemas.microsoft.com/office/drawing/2014/main" id="{651086B2-F151-4B80-8492-86AF808D0E96}"/>
                </a:ext>
              </a:extLst>
            </p:cNvPr>
            <p:cNvSpPr/>
            <p:nvPr/>
          </p:nvSpPr>
          <p:spPr>
            <a:xfrm rot="16200000" flipH="1" flipV="1">
              <a:off x="4093938" y="3881605"/>
              <a:ext cx="709858" cy="233939"/>
            </a:xfrm>
            <a:prstGeom prst="parallelogram">
              <a:avLst>
                <a:gd name="adj" fmla="val 122662"/>
              </a:avLst>
            </a:prstGeom>
            <a:solidFill>
              <a:srgbClr val="93CDD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050">
                <a:latin typeface="+mj-lt"/>
              </a:endParaRPr>
            </a:p>
          </p:txBody>
        </p:sp>
        <p:sp>
          <p:nvSpPr>
            <p:cNvPr id="95" name="Parallelogram 94">
              <a:extLst>
                <a:ext uri="{FF2B5EF4-FFF2-40B4-BE49-F238E27FC236}">
                  <a16:creationId xmlns:a16="http://schemas.microsoft.com/office/drawing/2014/main" id="{8D07A7C9-4A76-422D-9A04-1F6563009063}"/>
                </a:ext>
              </a:extLst>
            </p:cNvPr>
            <p:cNvSpPr/>
            <p:nvPr/>
          </p:nvSpPr>
          <p:spPr>
            <a:xfrm flipH="1">
              <a:off x="3383761" y="4057417"/>
              <a:ext cx="1203245" cy="298147"/>
            </a:xfrm>
            <a:prstGeom prst="parallelogram">
              <a:avLst>
                <a:gd name="adj" fmla="val 82205"/>
              </a:avLst>
            </a:prstGeom>
            <a:solidFill>
              <a:srgbClr val="84C6D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>
                <a:latin typeface="+mj-lt"/>
              </a:endParaRPr>
            </a:p>
          </p:txBody>
        </p:sp>
        <p:sp>
          <p:nvSpPr>
            <p:cNvPr id="96" name="Parallelogram 95">
              <a:extLst>
                <a:ext uri="{FF2B5EF4-FFF2-40B4-BE49-F238E27FC236}">
                  <a16:creationId xmlns:a16="http://schemas.microsoft.com/office/drawing/2014/main" id="{69A1C83C-EC98-4E9B-A5FB-BA4E7F560119}"/>
                </a:ext>
              </a:extLst>
            </p:cNvPr>
            <p:cNvSpPr/>
            <p:nvPr/>
          </p:nvSpPr>
          <p:spPr>
            <a:xfrm rot="16200000" flipH="1" flipV="1">
              <a:off x="3145802" y="4295378"/>
              <a:ext cx="709858" cy="233939"/>
            </a:xfrm>
            <a:prstGeom prst="parallelogram">
              <a:avLst>
                <a:gd name="adj" fmla="val 122662"/>
              </a:avLst>
            </a:prstGeom>
            <a:solidFill>
              <a:srgbClr val="B7DEE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97" name="Parallelogram 96">
              <a:extLst>
                <a:ext uri="{FF2B5EF4-FFF2-40B4-BE49-F238E27FC236}">
                  <a16:creationId xmlns:a16="http://schemas.microsoft.com/office/drawing/2014/main" id="{1776186A-61C4-4E82-A10E-2D71D4169D5B}"/>
                </a:ext>
              </a:extLst>
            </p:cNvPr>
            <p:cNvSpPr/>
            <p:nvPr/>
          </p:nvSpPr>
          <p:spPr>
            <a:xfrm flipH="1">
              <a:off x="2417689" y="4469129"/>
              <a:ext cx="1203245" cy="298147"/>
            </a:xfrm>
            <a:prstGeom prst="parallelogram">
              <a:avLst>
                <a:gd name="adj" fmla="val 82205"/>
              </a:avLst>
            </a:prstGeom>
            <a:solidFill>
              <a:srgbClr val="D1EEF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>
                <a:latin typeface="+mj-lt"/>
              </a:endParaRPr>
            </a:p>
          </p:txBody>
        </p:sp>
        <p:sp>
          <p:nvSpPr>
            <p:cNvPr id="98" name="Rectangle 97">
              <a:extLst>
                <a:ext uri="{FF2B5EF4-FFF2-40B4-BE49-F238E27FC236}">
                  <a16:creationId xmlns:a16="http://schemas.microsoft.com/office/drawing/2014/main" id="{67E0F994-2DCD-4F31-86EC-E24CF76F13E3}"/>
                </a:ext>
              </a:extLst>
            </p:cNvPr>
            <p:cNvSpPr/>
            <p:nvPr/>
          </p:nvSpPr>
          <p:spPr>
            <a:xfrm>
              <a:off x="342899" y="4469840"/>
              <a:ext cx="2780493" cy="297436"/>
            </a:xfrm>
            <a:prstGeom prst="rect">
              <a:avLst/>
            </a:prstGeom>
            <a:solidFill>
              <a:srgbClr val="D1EEF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>
                <a:latin typeface="+mj-lt"/>
              </a:endParaRPr>
            </a:p>
          </p:txBody>
        </p:sp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id="{19CA3BAB-05EE-425E-94C6-07B3140803B9}"/>
                </a:ext>
              </a:extLst>
            </p:cNvPr>
            <p:cNvSpPr txBox="1"/>
            <p:nvPr/>
          </p:nvSpPr>
          <p:spPr>
            <a:xfrm>
              <a:off x="198486" y="2439011"/>
              <a:ext cx="2978612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b="1" dirty="0">
                  <a:solidFill>
                    <a:schemeClr val="dk2"/>
                  </a:solidFill>
                  <a:latin typeface="+mj-lt"/>
                </a:rPr>
                <a:t>Reliance on Secondary Data Sources:</a:t>
              </a:r>
            </a:p>
            <a:p>
              <a:r>
                <a:rPr lang="en-US" sz="1000" dirty="0">
                  <a:solidFill>
                    <a:schemeClr val="dk2"/>
                  </a:solidFill>
                  <a:latin typeface="+mj-lt"/>
                </a:rPr>
                <a:t>Dependence on order transactions from retailers provides only basic details like pricing and quantities, not granular consumer insights."</a:t>
              </a:r>
              <a:endParaRPr lang="en-US" sz="1000" dirty="0">
                <a:solidFill>
                  <a:schemeClr val="dk2"/>
                </a:solidFill>
                <a:latin typeface="+mj-lt"/>
                <a:sym typeface="Montserrat"/>
              </a:endParaRPr>
            </a:p>
          </p:txBody>
        </p:sp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id="{0D92DD72-500E-4604-9F93-1AA60ADDBDBD}"/>
                </a:ext>
              </a:extLst>
            </p:cNvPr>
            <p:cNvSpPr txBox="1"/>
            <p:nvPr/>
          </p:nvSpPr>
          <p:spPr>
            <a:xfrm>
              <a:off x="503188" y="1799172"/>
              <a:ext cx="3540781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b="1" dirty="0">
                  <a:solidFill>
                    <a:schemeClr val="dk2"/>
                  </a:solidFill>
                  <a:latin typeface="+mj-lt"/>
                </a:rPr>
                <a:t>Risk of Inventory Imbalances:</a:t>
              </a:r>
            </a:p>
            <a:p>
              <a:r>
                <a:rPr lang="en-US" sz="1000" dirty="0">
                  <a:solidFill>
                    <a:schemeClr val="dk2"/>
                  </a:solidFill>
                  <a:latin typeface="+mj-lt"/>
                </a:rPr>
                <a:t>Without detailed data, forecasting becomes a challenge, leading to potential shortages or overstocking of TV units</a:t>
              </a:r>
              <a:endParaRPr lang="en-US" sz="1000" dirty="0">
                <a:solidFill>
                  <a:schemeClr val="dk2"/>
                </a:solidFill>
                <a:latin typeface="+mj-lt"/>
                <a:sym typeface="Montserrat"/>
              </a:endParaRPr>
            </a:p>
          </p:txBody>
        </p:sp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E9C54C63-53FD-45DB-828B-6CDC489BFC41}"/>
                </a:ext>
              </a:extLst>
            </p:cNvPr>
            <p:cNvSpPr txBox="1"/>
            <p:nvPr/>
          </p:nvSpPr>
          <p:spPr>
            <a:xfrm>
              <a:off x="985332" y="1252197"/>
              <a:ext cx="4796425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b="1" dirty="0">
                  <a:solidFill>
                    <a:schemeClr val="dk2"/>
                  </a:solidFill>
                  <a:latin typeface="+mj-lt"/>
                </a:rPr>
                <a:t>Literature Gap in B2B Supply Chain:</a:t>
              </a:r>
            </a:p>
            <a:p>
              <a:r>
                <a:rPr lang="en-US" sz="1000" dirty="0">
                  <a:solidFill>
                    <a:schemeClr val="dk2"/>
                  </a:solidFill>
                  <a:latin typeface="+mj-lt"/>
                </a:rPr>
                <a:t>Existing research primarily focuses on business-to-customer (B2C) dynamics, offering limited strategies for business-to-business (B2B) inventory forecasting.</a:t>
              </a:r>
              <a:endParaRPr lang="en-US" sz="1000" dirty="0">
                <a:solidFill>
                  <a:schemeClr val="dk2"/>
                </a:solidFill>
                <a:latin typeface="+mj-lt"/>
                <a:sym typeface="Montserrat"/>
              </a:endParaRPr>
            </a:p>
          </p:txBody>
        </p:sp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8B40C61A-DEC2-4B08-8D06-E9E984A1E92F}"/>
                </a:ext>
              </a:extLst>
            </p:cNvPr>
            <p:cNvSpPr txBox="1"/>
            <p:nvPr/>
          </p:nvSpPr>
          <p:spPr>
            <a:xfrm>
              <a:off x="2589388" y="742356"/>
              <a:ext cx="4796425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b="1" dirty="0">
                  <a:solidFill>
                    <a:schemeClr val="dk2"/>
                  </a:solidFill>
                  <a:latin typeface="+mj-lt"/>
                </a:rPr>
                <a:t>Towards a Data-Driven Forecasting Approach:</a:t>
              </a:r>
            </a:p>
            <a:p>
              <a:r>
                <a:rPr lang="en-US" sz="1000" dirty="0">
                  <a:solidFill>
                    <a:schemeClr val="dk2"/>
                  </a:solidFill>
                  <a:latin typeface="+mj-lt"/>
                </a:rPr>
                <a:t>Our report advocates for a shift to more data-driven forecasting to navigate the fluctuating consumer electronics market effectively.</a:t>
              </a:r>
              <a:endParaRPr lang="en-US" sz="1000" dirty="0">
                <a:solidFill>
                  <a:schemeClr val="dk2"/>
                </a:solidFill>
                <a:latin typeface="+mj-lt"/>
                <a:sym typeface="Montserrat"/>
              </a:endParaRPr>
            </a:p>
          </p:txBody>
        </p:sp>
        <p:pic>
          <p:nvPicPr>
            <p:cNvPr id="8" name="Graphic 7" descr="No sign with solid fill">
              <a:extLst>
                <a:ext uri="{FF2B5EF4-FFF2-40B4-BE49-F238E27FC236}">
                  <a16:creationId xmlns:a16="http://schemas.microsoft.com/office/drawing/2014/main" id="{71CBB30B-4287-4E2C-A360-EE21B276A68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725269" y="2988996"/>
              <a:ext cx="506677" cy="506677"/>
            </a:xfrm>
            <a:prstGeom prst="rect">
              <a:avLst/>
            </a:prstGeom>
          </p:spPr>
        </p:pic>
        <p:pic>
          <p:nvPicPr>
            <p:cNvPr id="10" name="Graphic 9" descr="Document with solid fill">
              <a:extLst>
                <a:ext uri="{FF2B5EF4-FFF2-40B4-BE49-F238E27FC236}">
                  <a16:creationId xmlns:a16="http://schemas.microsoft.com/office/drawing/2014/main" id="{4BBF4B32-9004-4A12-8C39-5478EB9E7C9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702018" y="2543099"/>
              <a:ext cx="547349" cy="547349"/>
            </a:xfrm>
            <a:prstGeom prst="rect">
              <a:avLst/>
            </a:prstGeom>
          </p:spPr>
        </p:pic>
        <p:pic>
          <p:nvPicPr>
            <p:cNvPr id="106" name="Graphic 105" descr="Bullseye with solid fill">
              <a:extLst>
                <a:ext uri="{FF2B5EF4-FFF2-40B4-BE49-F238E27FC236}">
                  <a16:creationId xmlns:a16="http://schemas.microsoft.com/office/drawing/2014/main" id="{9DB956B2-44F1-431C-8B8D-374827F204D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7470574" y="1261696"/>
              <a:ext cx="619323" cy="619323"/>
            </a:xfrm>
            <a:prstGeom prst="rect">
              <a:avLst/>
            </a:prstGeom>
          </p:spPr>
        </p:pic>
        <p:pic>
          <p:nvPicPr>
            <p:cNvPr id="12" name="Graphic 11" descr="Questions with solid fill">
              <a:extLst>
                <a:ext uri="{FF2B5EF4-FFF2-40B4-BE49-F238E27FC236}">
                  <a16:creationId xmlns:a16="http://schemas.microsoft.com/office/drawing/2014/main" id="{AF3A9C52-1923-4108-877D-54295C57261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 flipH="1">
              <a:off x="5531306" y="2140578"/>
              <a:ext cx="520741" cy="52074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4646791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4" name="Google Shape;524;p60"/>
          <p:cNvSpPr txBox="1">
            <a:spLocks noGrp="1"/>
          </p:cNvSpPr>
          <p:nvPr>
            <p:ph type="title"/>
          </p:nvPr>
        </p:nvSpPr>
        <p:spPr>
          <a:xfrm>
            <a:off x="2714550" y="2323722"/>
            <a:ext cx="3714900" cy="818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000" dirty="0">
                <a:latin typeface="+mj-lt"/>
              </a:rPr>
              <a:t>Data Description</a:t>
            </a:r>
            <a:endParaRPr sz="3000" dirty="0">
              <a:latin typeface="+mj-lt"/>
            </a:endParaRPr>
          </a:p>
        </p:txBody>
      </p:sp>
      <p:sp>
        <p:nvSpPr>
          <p:cNvPr id="525" name="Google Shape;525;p60"/>
          <p:cNvSpPr txBox="1">
            <a:spLocks noGrp="1"/>
          </p:cNvSpPr>
          <p:nvPr>
            <p:ph type="title" idx="2"/>
          </p:nvPr>
        </p:nvSpPr>
        <p:spPr>
          <a:xfrm>
            <a:off x="3963000" y="1265075"/>
            <a:ext cx="1218000" cy="978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latin typeface="+mj-lt"/>
              </a:rPr>
              <a:t>03</a:t>
            </a:r>
            <a:endParaRPr>
              <a:latin typeface="+mj-lt"/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0" name="Google Shape;530;p61"/>
          <p:cNvSpPr txBox="1"/>
          <p:nvPr/>
        </p:nvSpPr>
        <p:spPr>
          <a:xfrm>
            <a:off x="5987848" y="1199719"/>
            <a:ext cx="2723015" cy="7802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" sz="1200" dirty="0">
                <a:solidFill>
                  <a:schemeClr val="dk1"/>
                </a:solidFill>
                <a:latin typeface="+mj-lt"/>
                <a:ea typeface="Montserrat"/>
                <a:cs typeface="Montserrat"/>
                <a:sym typeface="Montserrat"/>
              </a:rPr>
              <a:t>8323 order transactions of televisions made by appliance retailers in Lebanon.</a:t>
            </a:r>
            <a:endParaRPr dirty="0">
              <a:solidFill>
                <a:schemeClr val="dk2"/>
              </a:solidFill>
              <a:latin typeface="+mj-lt"/>
              <a:ea typeface="Montserrat"/>
              <a:cs typeface="Montserrat"/>
              <a:sym typeface="Montserrat"/>
            </a:endParaRPr>
          </a:p>
        </p:txBody>
      </p:sp>
      <p:sp>
        <p:nvSpPr>
          <p:cNvPr id="534" name="Google Shape;534;p61"/>
          <p:cNvSpPr txBox="1"/>
          <p:nvPr/>
        </p:nvSpPr>
        <p:spPr>
          <a:xfrm>
            <a:off x="2896556" y="1315306"/>
            <a:ext cx="2652900" cy="61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200" dirty="0">
                <a:solidFill>
                  <a:schemeClr val="dk2"/>
                </a:solidFill>
                <a:latin typeface="+mj-lt"/>
                <a:ea typeface="Montserrat"/>
                <a:cs typeface="Montserrat"/>
                <a:sym typeface="Montserrat"/>
              </a:rPr>
              <a:t>Lebanese wholesales company: </a:t>
            </a:r>
            <a:r>
              <a:rPr lang="en" sz="1200" dirty="0">
                <a:solidFill>
                  <a:schemeClr val="dk1"/>
                </a:solidFill>
                <a:latin typeface="+mj-lt"/>
                <a:ea typeface="Montserrat"/>
                <a:cs typeface="Montserrat"/>
                <a:sym typeface="Montserrat"/>
              </a:rPr>
              <a:t>Linkers Group S.A.L.</a:t>
            </a:r>
            <a:endParaRPr sz="1200" dirty="0">
              <a:solidFill>
                <a:schemeClr val="dk2"/>
              </a:solidFill>
              <a:latin typeface="+mj-lt"/>
              <a:ea typeface="Montserrat"/>
              <a:cs typeface="Montserrat"/>
              <a:sym typeface="Montserrat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BF57963C-215F-4574-AD0C-B3EECF6D93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0" y="375554"/>
            <a:ext cx="8458200" cy="571500"/>
          </a:xfrm>
        </p:spPr>
        <p:txBody>
          <a:bodyPr>
            <a:noAutofit/>
          </a:bodyPr>
          <a:lstStyle/>
          <a:p>
            <a:r>
              <a:rPr lang="en-US" sz="1800" b="1" i="0" dirty="0">
                <a:effectLst/>
                <a:latin typeface="+mj-lt"/>
              </a:rPr>
              <a:t>Dataset</a:t>
            </a:r>
            <a:endParaRPr lang="en-US" sz="1800" dirty="0">
              <a:latin typeface="+mj-lt"/>
            </a:endParaRPr>
          </a:p>
        </p:txBody>
      </p:sp>
      <p:pic>
        <p:nvPicPr>
          <p:cNvPr id="1026" name="Picture 2" descr="No photo description available.">
            <a:extLst>
              <a:ext uri="{FF2B5EF4-FFF2-40B4-BE49-F238E27FC236}">
                <a16:creationId xmlns:a16="http://schemas.microsoft.com/office/drawing/2014/main" id="{AD2DE279-D788-42B0-892C-46A4EB3B893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978" b="16231"/>
          <a:stretch/>
        </p:blipFill>
        <p:spPr bwMode="auto">
          <a:xfrm>
            <a:off x="342900" y="1157026"/>
            <a:ext cx="2115264" cy="9968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Google Shape;533;p61">
            <a:extLst>
              <a:ext uri="{FF2B5EF4-FFF2-40B4-BE49-F238E27FC236}">
                <a16:creationId xmlns:a16="http://schemas.microsoft.com/office/drawing/2014/main" id="{A18F6CD8-C41A-7A4F-A5A0-BE80C369CC4A}"/>
              </a:ext>
            </a:extLst>
          </p:cNvPr>
          <p:cNvSpPr txBox="1"/>
          <p:nvPr/>
        </p:nvSpPr>
        <p:spPr>
          <a:xfrm flipH="1">
            <a:off x="88106" y="2707206"/>
            <a:ext cx="8269800" cy="1433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30480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Montserrat"/>
              <a:buChar char="-"/>
            </a:pPr>
            <a:r>
              <a:rPr lang="en" sz="1200" dirty="0">
                <a:solidFill>
                  <a:schemeClr val="dk2"/>
                </a:solidFill>
                <a:latin typeface="Montserrat"/>
                <a:ea typeface="Montserrat"/>
                <a:cs typeface="Montserrat"/>
                <a:sym typeface="Montserrat"/>
              </a:rPr>
              <a:t>Casa					-      Pixel Density </a:t>
            </a:r>
            <a:endParaRPr sz="1200" dirty="0">
              <a:solidFill>
                <a:schemeClr val="dk2"/>
              </a:solidFill>
              <a:latin typeface="Montserrat"/>
              <a:ea typeface="Montserrat"/>
              <a:cs typeface="Montserrat"/>
              <a:sym typeface="Montserrat"/>
            </a:endParaRPr>
          </a:p>
          <a:p>
            <a:pPr marL="457200" lvl="0" indent="-30480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Montserrat"/>
              <a:buChar char="-"/>
            </a:pPr>
            <a:r>
              <a:rPr lang="en" sz="1200" dirty="0">
                <a:solidFill>
                  <a:schemeClr val="dk2"/>
                </a:solidFill>
                <a:latin typeface="Montserrat"/>
                <a:ea typeface="Montserrat"/>
                <a:cs typeface="Montserrat"/>
                <a:sym typeface="Montserrat"/>
              </a:rPr>
              <a:t>Month		  	   	-      Connectivity Options </a:t>
            </a:r>
            <a:r>
              <a:rPr lang="en" sz="1000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(2, 3, 4 ports)</a:t>
            </a:r>
            <a:endParaRPr sz="1000" dirty="0">
              <a:solidFill>
                <a:schemeClr val="dk2"/>
              </a:solidFill>
              <a:latin typeface="Montserrat"/>
              <a:ea typeface="Montserrat"/>
              <a:cs typeface="Montserrat"/>
              <a:sym typeface="Montserrat"/>
            </a:endParaRPr>
          </a:p>
          <a:p>
            <a:pPr marL="457200" lvl="0" indent="-30480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Montserrat"/>
              <a:buChar char="-"/>
            </a:pPr>
            <a:r>
              <a:rPr lang="en" sz="1200" dirty="0">
                <a:solidFill>
                  <a:schemeClr val="dk2"/>
                </a:solidFill>
                <a:latin typeface="Montserrat"/>
                <a:ea typeface="Montserrat"/>
                <a:cs typeface="Montserrat"/>
                <a:sym typeface="Montserrat"/>
              </a:rPr>
              <a:t>TV Brand			   	-      Energy Efficiency </a:t>
            </a:r>
            <a:r>
              <a:rPr lang="en" sz="1000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(A, B, C, D, E)</a:t>
            </a:r>
            <a:endParaRPr sz="1000" dirty="0">
              <a:solidFill>
                <a:schemeClr val="dk2"/>
              </a:solidFill>
              <a:latin typeface="Montserrat"/>
              <a:ea typeface="Montserrat"/>
              <a:cs typeface="Montserrat"/>
              <a:sym typeface="Montserrat"/>
            </a:endParaRPr>
          </a:p>
          <a:p>
            <a:pPr marL="457200" lvl="0" indent="-30480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Montserrat"/>
              <a:buChar char="-"/>
            </a:pPr>
            <a:r>
              <a:rPr lang="en" sz="1200" dirty="0">
                <a:solidFill>
                  <a:schemeClr val="dk2"/>
                </a:solidFill>
                <a:latin typeface="Montserrat"/>
                <a:ea typeface="Montserrat"/>
                <a:cs typeface="Montserrat"/>
                <a:sym typeface="Montserrat"/>
              </a:rPr>
              <a:t>TV Size </a:t>
            </a:r>
            <a:r>
              <a:rPr lang="en" sz="1000" dirty="0">
                <a:solidFill>
                  <a:schemeClr val="dk2"/>
                </a:solidFill>
                <a:latin typeface="Montserrat"/>
                <a:ea typeface="Montserrat"/>
                <a:cs typeface="Montserrat"/>
                <a:sym typeface="Montserrat"/>
              </a:rPr>
              <a:t>(inches)</a:t>
            </a:r>
            <a:r>
              <a:rPr lang="en" sz="1200" dirty="0">
                <a:solidFill>
                  <a:schemeClr val="dk2"/>
                </a:solidFill>
                <a:latin typeface="Montserrat"/>
                <a:ea typeface="Montserrat"/>
                <a:cs typeface="Montserrat"/>
                <a:sym typeface="Montserrat"/>
              </a:rPr>
              <a:t>		    	   	-      Response Time </a:t>
            </a:r>
            <a:r>
              <a:rPr lang="en" sz="1000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(4 </a:t>
            </a:r>
            <a:r>
              <a:rPr lang="en" sz="1000" dirty="0" err="1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ms</a:t>
            </a:r>
            <a:r>
              <a:rPr lang="en" sz="1000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 &amp; 10 </a:t>
            </a:r>
            <a:r>
              <a:rPr lang="en" sz="1000" dirty="0" err="1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ms</a:t>
            </a:r>
            <a:r>
              <a:rPr lang="en" sz="1000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)</a:t>
            </a:r>
            <a:endParaRPr sz="1000" dirty="0">
              <a:solidFill>
                <a:schemeClr val="dk2"/>
              </a:solidFill>
              <a:latin typeface="Montserrat"/>
              <a:ea typeface="Montserrat"/>
              <a:cs typeface="Montserrat"/>
              <a:sym typeface="Montserrat"/>
            </a:endParaRPr>
          </a:p>
          <a:p>
            <a:pPr marL="457200" lvl="0" indent="-30480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Montserrat"/>
              <a:buChar char="-"/>
            </a:pPr>
            <a:r>
              <a:rPr lang="en" sz="1200" dirty="0">
                <a:solidFill>
                  <a:schemeClr val="dk2"/>
                </a:solidFill>
                <a:latin typeface="Montserrat"/>
                <a:ea typeface="Montserrat"/>
                <a:cs typeface="Montserrat"/>
                <a:sym typeface="Montserrat"/>
              </a:rPr>
              <a:t>Resolution </a:t>
            </a:r>
            <a:r>
              <a:rPr lang="en" sz="1000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(HD, FHD, UHD)</a:t>
            </a:r>
            <a:r>
              <a:rPr lang="en" sz="1200" dirty="0">
                <a:solidFill>
                  <a:schemeClr val="dk2"/>
                </a:solidFill>
                <a:latin typeface="Montserrat"/>
                <a:ea typeface="Montserrat"/>
                <a:cs typeface="Montserrat"/>
                <a:sym typeface="Montserrat"/>
              </a:rPr>
              <a:t>		              	-      Unit Price</a:t>
            </a:r>
            <a:endParaRPr sz="1200" dirty="0">
              <a:solidFill>
                <a:schemeClr val="dk2"/>
              </a:solidFill>
              <a:latin typeface="Montserrat"/>
              <a:ea typeface="Montserrat"/>
              <a:cs typeface="Montserrat"/>
              <a:sym typeface="Montserrat"/>
            </a:endParaRPr>
          </a:p>
          <a:p>
            <a:pPr marL="457200" lvl="0" indent="-30480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Montserrat"/>
              <a:buChar char="-"/>
            </a:pPr>
            <a:r>
              <a:rPr lang="en" sz="1200" dirty="0">
                <a:solidFill>
                  <a:schemeClr val="dk2"/>
                </a:solidFill>
                <a:latin typeface="Montserrat"/>
                <a:ea typeface="Montserrat"/>
                <a:cs typeface="Montserrat"/>
                <a:sym typeface="Montserrat"/>
              </a:rPr>
              <a:t>Refresh Rate</a:t>
            </a:r>
            <a:r>
              <a:rPr lang="en" sz="1200" dirty="0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 </a:t>
            </a:r>
            <a:r>
              <a:rPr lang="en" sz="1000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(60 Hz, 120 Hz)</a:t>
            </a:r>
            <a:r>
              <a:rPr lang="en" sz="1200" dirty="0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 </a:t>
            </a:r>
            <a:r>
              <a:rPr lang="en" sz="1200" dirty="0">
                <a:solidFill>
                  <a:schemeClr val="dk2"/>
                </a:solidFill>
                <a:latin typeface="Montserrat"/>
                <a:ea typeface="Montserrat"/>
                <a:cs typeface="Montserrat"/>
                <a:sym typeface="Montserrat"/>
              </a:rPr>
              <a:t>		              	-      Total Quantity</a:t>
            </a:r>
            <a:endParaRPr sz="1200" dirty="0">
              <a:solidFill>
                <a:schemeClr val="dk2"/>
              </a:solidFill>
              <a:latin typeface="Montserrat"/>
              <a:ea typeface="Montserrat"/>
              <a:cs typeface="Montserrat"/>
              <a:sym typeface="Montserrat"/>
            </a:endParaRPr>
          </a:p>
          <a:p>
            <a:pPr marL="457200" lvl="0" indent="-30480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Montserrat"/>
              <a:buChar char="-"/>
            </a:pPr>
            <a:r>
              <a:rPr lang="en" sz="1200" dirty="0">
                <a:solidFill>
                  <a:schemeClr val="dk2"/>
                </a:solidFill>
                <a:latin typeface="Montserrat"/>
                <a:ea typeface="Montserrat"/>
                <a:cs typeface="Montserrat"/>
                <a:sym typeface="Montserrat"/>
              </a:rPr>
              <a:t>Sound Quality </a:t>
            </a:r>
            <a:r>
              <a:rPr lang="en" sz="1000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(Basic, Enhanced, Premium)</a:t>
            </a:r>
            <a:endParaRPr sz="1000" dirty="0">
              <a:solidFill>
                <a:schemeClr val="dk2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</p:spTree>
    <p:extLst>
      <p:ext uri="{BB962C8B-B14F-4D97-AF65-F5344CB8AC3E}">
        <p14:creationId xmlns:p14="http://schemas.microsoft.com/office/powerpoint/2010/main" val="342339296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0" name="Google Shape;540;p62"/>
          <p:cNvSpPr txBox="1">
            <a:spLocks noGrp="1"/>
          </p:cNvSpPr>
          <p:nvPr>
            <p:ph type="title"/>
          </p:nvPr>
        </p:nvSpPr>
        <p:spPr>
          <a:xfrm>
            <a:off x="2714550" y="2323722"/>
            <a:ext cx="3714900" cy="818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000">
                <a:latin typeface="+mj-lt"/>
              </a:rPr>
              <a:t>Methodology</a:t>
            </a:r>
            <a:endParaRPr sz="3000">
              <a:latin typeface="+mj-lt"/>
            </a:endParaRPr>
          </a:p>
        </p:txBody>
      </p:sp>
      <p:sp>
        <p:nvSpPr>
          <p:cNvPr id="541" name="Google Shape;541;p62"/>
          <p:cNvSpPr txBox="1">
            <a:spLocks noGrp="1"/>
          </p:cNvSpPr>
          <p:nvPr>
            <p:ph type="title" idx="2"/>
          </p:nvPr>
        </p:nvSpPr>
        <p:spPr>
          <a:xfrm>
            <a:off x="3963000" y="1265075"/>
            <a:ext cx="1296300" cy="978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latin typeface="+mj-lt"/>
              </a:rPr>
              <a:t>04</a:t>
            </a:r>
            <a:endParaRPr>
              <a:latin typeface="+mj-lt"/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6" name="Google Shape;546;p63"/>
          <p:cNvSpPr txBox="1">
            <a:spLocks noGrp="1"/>
          </p:cNvSpPr>
          <p:nvPr>
            <p:ph type="subTitle" idx="1"/>
          </p:nvPr>
        </p:nvSpPr>
        <p:spPr>
          <a:xfrm>
            <a:off x="3508950" y="1720164"/>
            <a:ext cx="2126100" cy="444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latin typeface="+mj-lt"/>
              </a:rPr>
              <a:t>Regression Models</a:t>
            </a:r>
            <a:endParaRPr>
              <a:latin typeface="+mj-lt"/>
            </a:endParaRPr>
          </a:p>
        </p:txBody>
      </p:sp>
      <p:sp>
        <p:nvSpPr>
          <p:cNvPr id="547" name="Google Shape;547;p63"/>
          <p:cNvSpPr txBox="1">
            <a:spLocks noGrp="1"/>
          </p:cNvSpPr>
          <p:nvPr>
            <p:ph type="subTitle" idx="2"/>
          </p:nvPr>
        </p:nvSpPr>
        <p:spPr>
          <a:xfrm>
            <a:off x="3426875" y="2610325"/>
            <a:ext cx="2290200" cy="813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300" dirty="0">
                <a:latin typeface="+mj-lt"/>
              </a:rPr>
              <a:t>"Examining how various factors contribute to sales volume to enhance forecast precision</a:t>
            </a:r>
          </a:p>
        </p:txBody>
      </p:sp>
      <p:sp>
        <p:nvSpPr>
          <p:cNvPr id="548" name="Google Shape;548;p63"/>
          <p:cNvSpPr txBox="1">
            <a:spLocks noGrp="1"/>
          </p:cNvSpPr>
          <p:nvPr>
            <p:ph type="subTitle" idx="3"/>
          </p:nvPr>
        </p:nvSpPr>
        <p:spPr>
          <a:xfrm>
            <a:off x="953050" y="1720164"/>
            <a:ext cx="2126100" cy="444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latin typeface="+mj-lt"/>
              </a:rPr>
              <a:t>Exploratory Data Analysis</a:t>
            </a:r>
            <a:endParaRPr>
              <a:latin typeface="+mj-lt"/>
            </a:endParaRPr>
          </a:p>
        </p:txBody>
      </p:sp>
      <p:sp>
        <p:nvSpPr>
          <p:cNvPr id="549" name="Google Shape;549;p63"/>
          <p:cNvSpPr txBox="1">
            <a:spLocks noGrp="1"/>
          </p:cNvSpPr>
          <p:nvPr>
            <p:ph type="subTitle" idx="4"/>
          </p:nvPr>
        </p:nvSpPr>
        <p:spPr>
          <a:xfrm>
            <a:off x="953050" y="2610334"/>
            <a:ext cx="2126100" cy="813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300">
                <a:latin typeface="+mj-lt"/>
              </a:rPr>
              <a:t>Analyzing the trends and patterns between the Total Quantity and the different factors</a:t>
            </a:r>
            <a:endParaRPr sz="1300">
              <a:latin typeface="+mj-lt"/>
            </a:endParaRPr>
          </a:p>
        </p:txBody>
      </p:sp>
      <p:sp>
        <p:nvSpPr>
          <p:cNvPr id="550" name="Google Shape;550;p63"/>
          <p:cNvSpPr txBox="1">
            <a:spLocks noGrp="1"/>
          </p:cNvSpPr>
          <p:nvPr>
            <p:ph type="subTitle" idx="5"/>
          </p:nvPr>
        </p:nvSpPr>
        <p:spPr>
          <a:xfrm>
            <a:off x="6064850" y="1720164"/>
            <a:ext cx="2126100" cy="444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latin typeface="+mj-lt"/>
              </a:rPr>
              <a:t>Regression Trees</a:t>
            </a:r>
            <a:endParaRPr>
              <a:latin typeface="+mj-lt"/>
            </a:endParaRPr>
          </a:p>
        </p:txBody>
      </p:sp>
      <p:sp>
        <p:nvSpPr>
          <p:cNvPr id="551" name="Google Shape;551;p63"/>
          <p:cNvSpPr txBox="1">
            <a:spLocks noGrp="1"/>
          </p:cNvSpPr>
          <p:nvPr>
            <p:ph type="subTitle" idx="6"/>
          </p:nvPr>
        </p:nvSpPr>
        <p:spPr>
          <a:xfrm>
            <a:off x="6064800" y="2610334"/>
            <a:ext cx="2126100" cy="813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300" dirty="0">
                <a:latin typeface="+mj-lt"/>
              </a:rPr>
              <a:t>Utilizing tree-based models to capture non-linear relationships and interactions between predictors for potential improvement in forecast accuracy</a:t>
            </a:r>
          </a:p>
        </p:txBody>
      </p:sp>
      <p:sp>
        <p:nvSpPr>
          <p:cNvPr id="552" name="Google Shape;552;p63"/>
          <p:cNvSpPr txBox="1">
            <a:spLocks noGrp="1"/>
          </p:cNvSpPr>
          <p:nvPr>
            <p:ph type="title"/>
          </p:nvPr>
        </p:nvSpPr>
        <p:spPr>
          <a:xfrm>
            <a:off x="2346300" y="743400"/>
            <a:ext cx="4451400" cy="318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400">
                <a:latin typeface="+mj-lt"/>
                <a:ea typeface="Montserrat"/>
                <a:cs typeface="Montserrat"/>
                <a:sym typeface="Montserrat"/>
              </a:rPr>
              <a:t>Setting the Total Quantity as our Target Variable</a:t>
            </a:r>
            <a:endParaRPr sz="1400">
              <a:latin typeface="+mj-lt"/>
              <a:ea typeface="Montserrat"/>
              <a:cs typeface="Montserrat"/>
              <a:sym typeface="Montserrat"/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inimalist Business Slides XL by Slidesgo">
  <a:themeElements>
    <a:clrScheme name="Simple Light">
      <a:dk1>
        <a:srgbClr val="000000"/>
      </a:dk1>
      <a:lt1>
        <a:srgbClr val="F5F2EE"/>
      </a:lt1>
      <a:dk2>
        <a:srgbClr val="000000"/>
      </a:dk2>
      <a:lt2>
        <a:srgbClr val="EEEEEE"/>
      </a:lt2>
      <a:accent1>
        <a:srgbClr val="3F3533"/>
      </a:accent1>
      <a:accent2>
        <a:srgbClr val="3F3533"/>
      </a:accent2>
      <a:accent3>
        <a:srgbClr val="3F3533"/>
      </a:accent3>
      <a:accent4>
        <a:srgbClr val="3F3533"/>
      </a:accent4>
      <a:accent5>
        <a:srgbClr val="3F3533"/>
      </a:accent5>
      <a:accent6>
        <a:srgbClr val="3F3533"/>
      </a:accent6>
      <a:hlink>
        <a:srgbClr val="000000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42</TotalTime>
  <Words>2007</Words>
  <Application>Microsoft Macintosh PowerPoint</Application>
  <PresentationFormat>On-screen Show (16:9)</PresentationFormat>
  <Paragraphs>208</Paragraphs>
  <Slides>38</Slides>
  <Notes>35</Notes>
  <HiddenSlides>0</HiddenSlides>
  <MMClips>0</MMClips>
  <ScaleCrop>false</ScaleCrop>
  <HeadingPairs>
    <vt:vector size="8" baseType="variant">
      <vt:variant>
        <vt:lpstr>Fonts Used</vt:lpstr>
      </vt:variant>
      <vt:variant>
        <vt:i4>1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8</vt:i4>
      </vt:variant>
    </vt:vector>
  </HeadingPairs>
  <TitlesOfParts>
    <vt:vector size="56" baseType="lpstr">
      <vt:lpstr>Crimson Text</vt:lpstr>
      <vt:lpstr>Arial Unicode MS</vt:lpstr>
      <vt:lpstr>맑은 고딕</vt:lpstr>
      <vt:lpstr>Mako</vt:lpstr>
      <vt:lpstr>ＭＳ Ｐゴシック</vt:lpstr>
      <vt:lpstr>Times New Roman</vt:lpstr>
      <vt:lpstr>Arial</vt:lpstr>
      <vt:lpstr>Vidaloka</vt:lpstr>
      <vt:lpstr>Söhne</vt:lpstr>
      <vt:lpstr>Open Sans SemiBold</vt:lpstr>
      <vt:lpstr>Merriweather Light</vt:lpstr>
      <vt:lpstr>Russo One</vt:lpstr>
      <vt:lpstr>Montserrat</vt:lpstr>
      <vt:lpstr>Lato</vt:lpstr>
      <vt:lpstr>Open Sans</vt:lpstr>
      <vt:lpstr>Josefin Sans</vt:lpstr>
      <vt:lpstr>Minimalist Business Slides XL by Slidesgo</vt:lpstr>
      <vt:lpstr>think-cell Slide</vt:lpstr>
      <vt:lpstr>Predictive Modeling of TV Sales</vt:lpstr>
      <vt:lpstr>Introduction &amp; Literature Review</vt:lpstr>
      <vt:lpstr>PowerPoint Presentation</vt:lpstr>
      <vt:lpstr>Problem Description</vt:lpstr>
      <vt:lpstr>Key Challenges in Inventory Forecasting for TV Wholesalers</vt:lpstr>
      <vt:lpstr>Data Description</vt:lpstr>
      <vt:lpstr>Dataset</vt:lpstr>
      <vt:lpstr>Methodology</vt:lpstr>
      <vt:lpstr>Setting the Total Quantity as our Target Variable</vt:lpstr>
      <vt:lpstr>Results Exploratory Data Analysis Regression Models Regression Trees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Model 1</vt:lpstr>
      <vt:lpstr>Model 2</vt:lpstr>
      <vt:lpstr>Model 3</vt:lpstr>
      <vt:lpstr>Model 4</vt:lpstr>
      <vt:lpstr>Interaction</vt:lpstr>
      <vt:lpstr>Model Comparison</vt:lpstr>
      <vt:lpstr>PowerPoint Presentation</vt:lpstr>
      <vt:lpstr>Tree 1</vt:lpstr>
      <vt:lpstr>Tree 1.1</vt:lpstr>
      <vt:lpstr>Tree 2</vt:lpstr>
      <vt:lpstr>Tree 2</vt:lpstr>
      <vt:lpstr>Tree 2.1</vt:lpstr>
      <vt:lpstr>Tree 2.1</vt:lpstr>
      <vt:lpstr>Comparing the Trees:</vt:lpstr>
      <vt:lpstr>Conclusion &amp; Recommendations</vt:lpstr>
      <vt:lpstr>Regression Models</vt:lpstr>
      <vt:lpstr>Regression Trees</vt:lpstr>
      <vt:lpstr>References</vt:lpstr>
      <vt:lpstr>Thank You</vt:lpstr>
    </vt:vector>
  </TitlesOfParts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dictive Modeling of TV Sales</dc:title>
  <dc:creator>Christ Naim</dc:creator>
  <cp:lastModifiedBy>Microsoft Office User</cp:lastModifiedBy>
  <cp:revision>45</cp:revision>
  <dcterms:modified xsi:type="dcterms:W3CDTF">2023-12-04T12:20:32Z</dcterms:modified>
</cp:coreProperties>
</file>